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75" r:id="rId3"/>
    <p:sldMasterId id="2147483747" r:id="rId4"/>
    <p:sldMasterId id="2147483771" r:id="rId5"/>
  </p:sldMasterIdLst>
  <p:notesMasterIdLst>
    <p:notesMasterId r:id="rId19"/>
  </p:notesMasterIdLst>
  <p:sldIdLst>
    <p:sldId id="267" r:id="rId6"/>
    <p:sldId id="268" r:id="rId7"/>
    <p:sldId id="349" r:id="rId8"/>
    <p:sldId id="348" r:id="rId9"/>
    <p:sldId id="350" r:id="rId10"/>
    <p:sldId id="353" r:id="rId11"/>
    <p:sldId id="355" r:id="rId12"/>
    <p:sldId id="354" r:id="rId13"/>
    <p:sldId id="351" r:id="rId14"/>
    <p:sldId id="289" r:id="rId15"/>
    <p:sldId id="346" r:id="rId16"/>
    <p:sldId id="301" r:id="rId17"/>
    <p:sldId id="352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C82FD4-295E-4FF8-B4E9-F344E141953F}" v="1" dt="2022-05-19T16:03:50.8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422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ndira Virmani" userId="b7be1aa4a4716519" providerId="LiveId" clId="{D4C82FD4-295E-4FF8-B4E9-F344E141953F}"/>
    <pc:docChg chg="custSel addSld delSld modSld sldOrd">
      <pc:chgData name="Mandira Virmani" userId="b7be1aa4a4716519" providerId="LiveId" clId="{D4C82FD4-295E-4FF8-B4E9-F344E141953F}" dt="2022-05-19T16:08:10.518" v="106" actId="20577"/>
      <pc:docMkLst>
        <pc:docMk/>
      </pc:docMkLst>
      <pc:sldChg chg="del">
        <pc:chgData name="Mandira Virmani" userId="b7be1aa4a4716519" providerId="LiveId" clId="{D4C82FD4-295E-4FF8-B4E9-F344E141953F}" dt="2022-05-19T16:06:45.880" v="61" actId="47"/>
        <pc:sldMkLst>
          <pc:docMk/>
          <pc:sldMk cId="1020770436" sldId="277"/>
        </pc:sldMkLst>
      </pc:sldChg>
      <pc:sldChg chg="del">
        <pc:chgData name="Mandira Virmani" userId="b7be1aa4a4716519" providerId="LiveId" clId="{D4C82FD4-295E-4FF8-B4E9-F344E141953F}" dt="2022-05-19T16:05:25.594" v="60" actId="47"/>
        <pc:sldMkLst>
          <pc:docMk/>
          <pc:sldMk cId="3163667019" sldId="288"/>
        </pc:sldMkLst>
      </pc:sldChg>
      <pc:sldChg chg="del">
        <pc:chgData name="Mandira Virmani" userId="b7be1aa4a4716519" providerId="LiveId" clId="{D4C82FD4-295E-4FF8-B4E9-F344E141953F}" dt="2022-05-19T16:03:24.990" v="0" actId="47"/>
        <pc:sldMkLst>
          <pc:docMk/>
          <pc:sldMk cId="2073339630" sldId="298"/>
        </pc:sldMkLst>
      </pc:sldChg>
      <pc:sldChg chg="mod ord modShow">
        <pc:chgData name="Mandira Virmani" userId="b7be1aa4a4716519" providerId="LiveId" clId="{D4C82FD4-295E-4FF8-B4E9-F344E141953F}" dt="2022-05-19T16:05:05.790" v="57"/>
        <pc:sldMkLst>
          <pc:docMk/>
          <pc:sldMk cId="1873298047" sldId="346"/>
        </pc:sldMkLst>
      </pc:sldChg>
      <pc:sldChg chg="ord">
        <pc:chgData name="Mandira Virmani" userId="b7be1aa4a4716519" providerId="LiveId" clId="{D4C82FD4-295E-4FF8-B4E9-F344E141953F}" dt="2022-05-19T16:06:51.234" v="63"/>
        <pc:sldMkLst>
          <pc:docMk/>
          <pc:sldMk cId="1471217722" sldId="350"/>
        </pc:sldMkLst>
      </pc:sldChg>
      <pc:sldChg chg="mod ord modShow">
        <pc:chgData name="Mandira Virmani" userId="b7be1aa4a4716519" providerId="LiveId" clId="{D4C82FD4-295E-4FF8-B4E9-F344E141953F}" dt="2022-05-19T16:05:11.043" v="59"/>
        <pc:sldMkLst>
          <pc:docMk/>
          <pc:sldMk cId="3098352327" sldId="352"/>
        </pc:sldMkLst>
      </pc:sldChg>
      <pc:sldChg chg="ord">
        <pc:chgData name="Mandira Virmani" userId="b7be1aa4a4716519" providerId="LiveId" clId="{D4C82FD4-295E-4FF8-B4E9-F344E141953F}" dt="2022-05-19T16:06:54.948" v="65"/>
        <pc:sldMkLst>
          <pc:docMk/>
          <pc:sldMk cId="274013917" sldId="353"/>
        </pc:sldMkLst>
      </pc:sldChg>
      <pc:sldChg chg="modSp mod">
        <pc:chgData name="Mandira Virmani" userId="b7be1aa4a4716519" providerId="LiveId" clId="{D4C82FD4-295E-4FF8-B4E9-F344E141953F}" dt="2022-05-19T16:07:15.040" v="75" actId="403"/>
        <pc:sldMkLst>
          <pc:docMk/>
          <pc:sldMk cId="2074891315" sldId="354"/>
        </pc:sldMkLst>
        <pc:spChg chg="mod">
          <ac:chgData name="Mandira Virmani" userId="b7be1aa4a4716519" providerId="LiveId" clId="{D4C82FD4-295E-4FF8-B4E9-F344E141953F}" dt="2022-05-19T16:07:15.040" v="75" actId="403"/>
          <ac:spMkLst>
            <pc:docMk/>
            <pc:sldMk cId="2074891315" sldId="354"/>
            <ac:spMk id="6" creationId="{AFE8FCD4-605F-4971-3DC2-AEF1A0657121}"/>
          </ac:spMkLst>
        </pc:spChg>
      </pc:sldChg>
      <pc:sldChg chg="delSp modSp add mod">
        <pc:chgData name="Mandira Virmani" userId="b7be1aa4a4716519" providerId="LiveId" clId="{D4C82FD4-295E-4FF8-B4E9-F344E141953F}" dt="2022-05-19T16:08:10.518" v="106" actId="20577"/>
        <pc:sldMkLst>
          <pc:docMk/>
          <pc:sldMk cId="2411048641" sldId="355"/>
        </pc:sldMkLst>
        <pc:spChg chg="mod">
          <ac:chgData name="Mandira Virmani" userId="b7be1aa4a4716519" providerId="LiveId" clId="{D4C82FD4-295E-4FF8-B4E9-F344E141953F}" dt="2022-05-19T16:04:02.787" v="33" actId="20577"/>
          <ac:spMkLst>
            <pc:docMk/>
            <pc:sldMk cId="2411048641" sldId="355"/>
            <ac:spMk id="2" creationId="{3EC0A763-C1D6-4C36-9C7E-4CE27DD76AE9}"/>
          </ac:spMkLst>
        </pc:spChg>
        <pc:spChg chg="mod">
          <ac:chgData name="Mandira Virmani" userId="b7be1aa4a4716519" providerId="LiveId" clId="{D4C82FD4-295E-4FF8-B4E9-F344E141953F}" dt="2022-05-19T16:08:10.518" v="106" actId="20577"/>
          <ac:spMkLst>
            <pc:docMk/>
            <pc:sldMk cId="2411048641" sldId="355"/>
            <ac:spMk id="5" creationId="{FFBC0DDC-3F70-419A-9187-49D87155D3E0}"/>
          </ac:spMkLst>
        </pc:spChg>
        <pc:graphicFrameChg chg="del">
          <ac:chgData name="Mandira Virmani" userId="b7be1aa4a4716519" providerId="LiveId" clId="{D4C82FD4-295E-4FF8-B4E9-F344E141953F}" dt="2022-05-19T16:03:54.573" v="4" actId="478"/>
          <ac:graphicFrameMkLst>
            <pc:docMk/>
            <pc:sldMk cId="2411048641" sldId="355"/>
            <ac:graphicFrameMk id="7" creationId="{A70C1A29-9F7B-4DE2-9F82-9ED377871CE9}"/>
          </ac:graphicFrameMkLst>
        </pc:graphicFrameChg>
      </pc:sldChg>
      <pc:sldMasterChg chg="delSldLayout">
        <pc:chgData name="Mandira Virmani" userId="b7be1aa4a4716519" providerId="LiveId" clId="{D4C82FD4-295E-4FF8-B4E9-F344E141953F}" dt="2022-05-19T16:06:45.880" v="61" actId="47"/>
        <pc:sldMasterMkLst>
          <pc:docMk/>
          <pc:sldMasterMk cId="1271494186" sldId="2147483648"/>
        </pc:sldMasterMkLst>
        <pc:sldLayoutChg chg="del">
          <pc:chgData name="Mandira Virmani" userId="b7be1aa4a4716519" providerId="LiveId" clId="{D4C82FD4-295E-4FF8-B4E9-F344E141953F}" dt="2022-05-19T16:06:45.880" v="61" actId="47"/>
          <pc:sldLayoutMkLst>
            <pc:docMk/>
            <pc:sldMasterMk cId="1271494186" sldId="2147483648"/>
            <pc:sldLayoutMk cId="188377329" sldId="2147483661"/>
          </pc:sldLayoutMkLst>
        </pc:sldLayoutChg>
      </pc:sldMasterChg>
      <pc:sldMasterChg chg="delSldLayout">
        <pc:chgData name="Mandira Virmani" userId="b7be1aa4a4716519" providerId="LiveId" clId="{D4C82FD4-295E-4FF8-B4E9-F344E141953F}" dt="2022-05-19T16:03:24.990" v="0" actId="47"/>
        <pc:sldMasterMkLst>
          <pc:docMk/>
          <pc:sldMasterMk cId="2864213012" sldId="2147483747"/>
        </pc:sldMasterMkLst>
        <pc:sldLayoutChg chg="del">
          <pc:chgData name="Mandira Virmani" userId="b7be1aa4a4716519" providerId="LiveId" clId="{D4C82FD4-295E-4FF8-B4E9-F344E141953F}" dt="2022-05-19T16:03:24.990" v="0" actId="47"/>
          <pc:sldLayoutMkLst>
            <pc:docMk/>
            <pc:sldMasterMk cId="2864213012" sldId="2147483747"/>
            <pc:sldLayoutMk cId="1318023421" sldId="2147483752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61A6B8-201C-47EE-A929-5DF28B5962D4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11E354-2392-4037-8E59-9E1E4F5F1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3871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7" name="Google Shape;10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416024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5" name="Google Shape;115;p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913391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D4F184A-4BBF-4DA9-88C1-EF755B1F6E3B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1132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D4F184A-4BBF-4DA9-88C1-EF755B1F6E3B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3269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D4F184A-4BBF-4DA9-88C1-EF755B1F6E3B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2939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D4F184A-4BBF-4DA9-88C1-EF755B1F6E3B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930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CEA7E-0617-41E7-BE32-C333CB6491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AEDC77-9EA6-4480-97E7-BC6DC8467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EF84C1-BCA0-4E47-84ED-170C12184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FEE332-8542-45D2-9A7F-5245C7DAB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76503D-51B2-4213-B2F0-4A4D0406B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495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B8ABC5-73FF-49FB-85DF-EDDE7589F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B18D502-9EF7-4900-9B56-962829E17B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773F8E-4652-43E8-A109-6E44145D6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3F0916-A6AF-44C1-BAE2-B64A5A7031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2F1830-7662-4535-BCFA-290CCA66E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9362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7FE5725-8E2D-4BE3-8316-EB47E59258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42240B-E05B-4592-8847-DE0BD8BA08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E6D4C1-387C-4ED1-9B15-0B547D3B8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D8E4A4-104A-4316-B676-CBEC6E08EC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DA54BD-644E-4420-A1B9-15E148A28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0536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1_Title Slide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23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" name="Google Shape;16;p23"/>
          <p:cNvSpPr/>
          <p:nvPr/>
        </p:nvSpPr>
        <p:spPr>
          <a:xfrm>
            <a:off x="907869" y="858881"/>
            <a:ext cx="422366" cy="4091577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17;p23"/>
          <p:cNvSpPr/>
          <p:nvPr/>
        </p:nvSpPr>
        <p:spPr>
          <a:xfrm rot="-5400000">
            <a:off x="2825414" y="-1394983"/>
            <a:ext cx="340676" cy="4167051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Google Shape;18;p23"/>
          <p:cNvSpPr/>
          <p:nvPr/>
        </p:nvSpPr>
        <p:spPr>
          <a:xfrm rot="-5400000">
            <a:off x="9128241" y="3535066"/>
            <a:ext cx="340676" cy="4167051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19;p23"/>
          <p:cNvSpPr/>
          <p:nvPr/>
        </p:nvSpPr>
        <p:spPr>
          <a:xfrm rot="10800000">
            <a:off x="10959737" y="1423850"/>
            <a:ext cx="422366" cy="4091577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Google Shape;20;p2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6844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14913"/>
            <a:ext cx="5152309" cy="2483318"/>
          </a:xfrm>
          <a:prstGeom prst="rect">
            <a:avLst/>
          </a:prstGeom>
        </p:spPr>
      </p:pic>
      <p:sp>
        <p:nvSpPr>
          <p:cNvPr id="9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35267" y="5341379"/>
            <a:ext cx="11221770" cy="90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10" name="Title"/>
          <p:cNvSpPr>
            <a:spLocks noGrp="1"/>
          </p:cNvSpPr>
          <p:nvPr>
            <p:ph type="ctrTitle" hasCustomPrompt="1"/>
          </p:nvPr>
        </p:nvSpPr>
        <p:spPr>
          <a:xfrm>
            <a:off x="635267" y="4396629"/>
            <a:ext cx="11221770" cy="900112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0"/>
              </a:spcBef>
              <a:defRPr sz="3600" b="0">
                <a:solidFill>
                  <a:srgbClr val="00A49A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09315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42900" y="1257300"/>
            <a:ext cx="11506200" cy="49911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buFont typeface="Arial" panose="020B0604020202020204" pitchFamily="34" charset="0"/>
              <a:buChar char="&gt;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8600">
              <a:buFont typeface="Arial" panose="020B0604020202020204" pitchFamily="34" charset="0"/>
              <a:buChar char="–"/>
              <a:defRPr sz="14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8131921618233 columns_1_132228131921618233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4" y="6277726"/>
            <a:ext cx="6830712" cy="523610"/>
          </a:xfrm>
          <a:prstGeom prst="rect">
            <a:avLst/>
          </a:prstGeom>
        </p:spPr>
        <p:txBody>
          <a:bodyPr lIns="45720" rIns="45720" anchor="b"/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insert slide notes</a:t>
            </a:r>
          </a:p>
        </p:txBody>
      </p:sp>
    </p:spTree>
    <p:extLst>
      <p:ext uri="{BB962C8B-B14F-4D97-AF65-F5344CB8AC3E}">
        <p14:creationId xmlns:p14="http://schemas.microsoft.com/office/powerpoint/2010/main" val="46889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376" y="2124456"/>
            <a:ext cx="5413248" cy="2609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64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AE094-4723-4E7D-89F2-5CFCAE80CF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740EFB-DFEC-4DBD-9BFC-F41A13D32B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0D9FAB-5020-48BB-9668-AAD37DFFDE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8B550-BC91-471E-A76D-C37FF51A3093}" type="datetimeFigureOut">
              <a:rPr lang="en-US" smtClean="0">
                <a:solidFill>
                  <a:prstClr val="black"/>
                </a:solidFill>
              </a:rPr>
              <a:pPr/>
              <a:t>5/19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235492-F019-4E86-BBAA-3C2C0BFDA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AB1B25-0EC3-477E-8CE1-742D218D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0DAAD-609E-41BE-9B3A-DF776786CD2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2799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F937C-1130-4283-91FF-5690CAB55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72700F-1B0C-490B-BAFE-1F3600F24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0A3C5D-0EF1-4525-85B9-24E504E5F78B}" type="datetimeFigureOut">
              <a:rPr lang="en-US" smtClean="0">
                <a:solidFill>
                  <a:prstClr val="black"/>
                </a:solidFill>
              </a:rPr>
              <a:pPr/>
              <a:t>5/19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073F82-B73D-4C18-8E00-C1B803708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54EE0F-5F50-4C9C-9730-FBD82C830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DD39FC-985B-43C0-8EF5-EEB940DFF5D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2794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23CCD56-686F-9040-8067-5B0CA60A43B4}"/>
              </a:ext>
            </a:extLst>
          </p:cNvPr>
          <p:cNvGraphicFramePr/>
          <p:nvPr userDrawn="1"/>
        </p:nvGraphicFramePr>
        <p:xfrm>
          <a:off x="7903285" y="873908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0A1C6801-269E-DE4E-866D-89E4525E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771" y="1600201"/>
            <a:ext cx="3686157" cy="1653987"/>
          </a:xfrm>
        </p:spPr>
        <p:txBody>
          <a:bodyPr anchor="t">
            <a:normAutofit/>
          </a:bodyPr>
          <a:lstStyle>
            <a:lvl1pPr>
              <a:defRPr sz="4000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FDC2494E-5F96-6F4C-B7CE-0E1AA2A4B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2772" y="3372171"/>
            <a:ext cx="3686156" cy="274015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0D230B-8854-E64F-A6A5-A520591CB4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48939" y="2743200"/>
            <a:ext cx="2239618" cy="115252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3CABAA-BD81-4BA0-AE62-137949B0F1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078" y="145633"/>
            <a:ext cx="3321930" cy="72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388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1D9284-D300-4297-87F7-E791DCC15DB1}" type="datetimeFigureOut">
              <a:rPr lang="en-US" smtClean="0">
                <a:solidFill>
                  <a:prstClr val="black"/>
                </a:solidFill>
              </a:rPr>
              <a:pPr/>
              <a:t>5/19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549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9024E-7BBD-47F5-9BA9-FC2559B5F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A5ADBC-BE5E-4629-82F6-7A74389A89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6CD747-1391-40B3-A110-A076E9678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64B24F-2D97-4442-AADD-9BF2137219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0876F2-BC67-4090-A4A6-F66CD6F3B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36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7AE24-723E-5D4C-A7A9-CD163B529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1EACFDEF-700F-BD4C-B918-05A0B3BA56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41563" y="2114392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8E9C9BA-F67B-E34E-95C5-5AD394384D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41563" y="2557586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39BF73FB-2ABB-6249-8344-24DA552B66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90038" y="2763103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D1AE4A7-C8A8-C448-A255-81844AEF6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94613" y="2114392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CB452431-DF74-0F42-BE20-E7DAACE6E0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4613" y="2557586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B7850EBF-95D6-F44F-BC3B-D7AB7A5556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6343088" y="2763103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FB632407-F11D-CB4D-89B3-A95C18B614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41563" y="4446744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E9EF6DD-1C56-E742-A56C-6FE3B58F48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41563" y="4886448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9753F006-0454-0441-AD23-901F013D28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613" y="4446744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54" name="Text Placeholder 11">
            <a:extLst>
              <a:ext uri="{FF2B5EF4-FFF2-40B4-BE49-F238E27FC236}">
                <a16:creationId xmlns:a16="http://schemas.microsoft.com/office/drawing/2014/main" id="{87C89CB4-30C2-F741-9BEB-4D8271739C3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394613" y="4886448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702809CA-8125-2649-8988-D480BCC460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rot="16200000">
            <a:off x="6343088" y="5095156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81A002BC-712C-7745-9135-95986472AB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190038" y="5095155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12565699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page">
  <p:cSld name="1_Content pag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32"/>
          <p:cNvSpPr txBox="1"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3600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A49A"/>
              </a:buClr>
              <a:buSzPts val="2400"/>
              <a:buFont typeface="Arial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32"/>
          <p:cNvSpPr txBox="1">
            <a:spLocks noGrp="1"/>
          </p:cNvSpPr>
          <p:nvPr>
            <p:ph type="body" idx="1"/>
          </p:nvPr>
        </p:nvSpPr>
        <p:spPr>
          <a:xfrm>
            <a:off x="342900" y="1257300"/>
            <a:ext cx="115062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&gt;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32"/>
          <p:cNvSpPr txBox="1">
            <a:spLocks noGrp="1"/>
          </p:cNvSpPr>
          <p:nvPr>
            <p:ph type="body" idx="2"/>
          </p:nvPr>
        </p:nvSpPr>
        <p:spPr>
          <a:xfrm>
            <a:off x="334963" y="6277726"/>
            <a:ext cx="10217697" cy="523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&gt;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70839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6277726"/>
            <a:ext cx="10217697" cy="523610"/>
          </a:xfrm>
          <a:prstGeom prst="rect">
            <a:avLst/>
          </a:prstGeom>
        </p:spPr>
        <p:txBody>
          <a:bodyPr lIns="45720" rIns="45720" anchor="b"/>
          <a:lstStyle>
            <a:lvl1pPr marL="0" indent="0">
              <a:spcBef>
                <a:spcPct val="0"/>
              </a:spcBef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insert slide notes</a:t>
            </a:r>
          </a:p>
        </p:txBody>
      </p:sp>
      <p:sp>
        <p:nvSpPr>
          <p:cNvPr id="4" name="btfpLayoutConfig" hidden="1"/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9840226499483 columns_1_132229840226499483 </a:t>
            </a:r>
          </a:p>
        </p:txBody>
      </p:sp>
    </p:spTree>
    <p:extLst>
      <p:ext uri="{BB962C8B-B14F-4D97-AF65-F5344CB8AC3E}">
        <p14:creationId xmlns:p14="http://schemas.microsoft.com/office/powerpoint/2010/main" val="182031519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2402">
          <p15:clr>
            <a:srgbClr val="CCCCCC"/>
          </p15:clr>
        </p15:guide>
        <p15:guide id="3" pos="2742">
          <p15:clr>
            <a:srgbClr val="CCCCCC"/>
          </p15:clr>
        </p15:guide>
        <p15:guide id="4" pos="4937">
          <p15:clr>
            <a:srgbClr val="CCCCCC"/>
          </p15:clr>
        </p15:guide>
        <p15:guide id="5" pos="5277">
          <p15:clr>
            <a:srgbClr val="CCCCCC"/>
          </p15:clr>
        </p15:guide>
        <p15:guide id="6" pos="7472">
          <p15:clr>
            <a:srgbClr val="CCCCCC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14913"/>
            <a:ext cx="5152309" cy="2483318"/>
          </a:xfrm>
          <a:prstGeom prst="rect">
            <a:avLst/>
          </a:prstGeom>
        </p:spPr>
      </p:pic>
      <p:sp>
        <p:nvSpPr>
          <p:cNvPr id="9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35267" y="5341379"/>
            <a:ext cx="11221770" cy="90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10" name="Title"/>
          <p:cNvSpPr>
            <a:spLocks noGrp="1"/>
          </p:cNvSpPr>
          <p:nvPr>
            <p:ph type="ctrTitle" hasCustomPrompt="1"/>
          </p:nvPr>
        </p:nvSpPr>
        <p:spPr>
          <a:xfrm>
            <a:off x="635267" y="4396629"/>
            <a:ext cx="11221770" cy="900112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0"/>
              </a:spcBef>
              <a:defRPr sz="3600" b="0">
                <a:solidFill>
                  <a:srgbClr val="00A49A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7053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42900" y="1257300"/>
            <a:ext cx="11506200" cy="49911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buFont typeface="Arial" panose="020B0604020202020204" pitchFamily="34" charset="0"/>
              <a:buChar char="&gt;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8600">
              <a:buFont typeface="Arial" panose="020B0604020202020204" pitchFamily="34" charset="0"/>
              <a:buChar char="–"/>
              <a:defRPr sz="14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8131921618233 columns_1_132228131921618233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4" y="6277726"/>
            <a:ext cx="6830712" cy="523610"/>
          </a:xfrm>
          <a:prstGeom prst="rect">
            <a:avLst/>
          </a:prstGeom>
        </p:spPr>
        <p:txBody>
          <a:bodyPr lIns="45720" rIns="45720" anchor="b"/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insert slide notes</a:t>
            </a:r>
          </a:p>
        </p:txBody>
      </p:sp>
    </p:spTree>
    <p:extLst>
      <p:ext uri="{BB962C8B-B14F-4D97-AF65-F5344CB8AC3E}">
        <p14:creationId xmlns:p14="http://schemas.microsoft.com/office/powerpoint/2010/main" val="3515970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376" y="2124456"/>
            <a:ext cx="5413248" cy="2609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098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AE094-4723-4E7D-89F2-5CFCAE80CF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740EFB-DFEC-4DBD-9BFC-F41A13D32B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0D9FAB-5020-48BB-9668-AAD37DFFDE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8B550-BC91-471E-A76D-C37FF51A3093}" type="datetimeFigureOut">
              <a:rPr lang="en-US" smtClean="0">
                <a:solidFill>
                  <a:prstClr val="black"/>
                </a:solidFill>
              </a:rPr>
              <a:pPr/>
              <a:t>5/19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235492-F019-4E86-BBAA-3C2C0BFDA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AB1B25-0EC3-477E-8CE1-742D218D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0DAAD-609E-41BE-9B3A-DF776786CD2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6558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F937C-1130-4283-91FF-5690CAB55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72700F-1B0C-490B-BAFE-1F3600F24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0A3C5D-0EF1-4525-85B9-24E504E5F78B}" type="datetimeFigureOut">
              <a:rPr lang="en-US" smtClean="0">
                <a:solidFill>
                  <a:prstClr val="black"/>
                </a:solidFill>
              </a:rPr>
              <a:pPr/>
              <a:t>5/19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073F82-B73D-4C18-8E00-C1B803708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54EE0F-5F50-4C9C-9730-FBD82C830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DD39FC-985B-43C0-8EF5-EEB940DFF5D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1315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23CCD56-686F-9040-8067-5B0CA60A43B4}"/>
              </a:ext>
            </a:extLst>
          </p:cNvPr>
          <p:cNvGraphicFramePr/>
          <p:nvPr userDrawn="1"/>
        </p:nvGraphicFramePr>
        <p:xfrm>
          <a:off x="7903285" y="873908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0A1C6801-269E-DE4E-866D-89E4525E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771" y="1600201"/>
            <a:ext cx="3686157" cy="1653987"/>
          </a:xfrm>
        </p:spPr>
        <p:txBody>
          <a:bodyPr anchor="t">
            <a:normAutofit/>
          </a:bodyPr>
          <a:lstStyle>
            <a:lvl1pPr>
              <a:defRPr sz="4000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FDC2494E-5F96-6F4C-B7CE-0E1AA2A4B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2772" y="3372171"/>
            <a:ext cx="3686156" cy="274015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0D230B-8854-E64F-A6A5-A520591CB4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48939" y="2743200"/>
            <a:ext cx="2239618" cy="115252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3CABAA-BD81-4BA0-AE62-137949B0F1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078" y="145633"/>
            <a:ext cx="3321930" cy="72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054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042987"/>
            <a:ext cx="10515600" cy="1325563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99682"/>
            <a:ext cx="10515600" cy="4351338"/>
          </a:xfrm>
        </p:spPr>
        <p:txBody>
          <a:bodyPr/>
          <a:lstStyle>
            <a:lvl1pPr marL="0" indent="0">
              <a:buFontTx/>
              <a:buNone/>
              <a:defRPr b="0" i="0">
                <a:latin typeface="+mj-lt"/>
                <a:cs typeface="Calibri" panose="020F0502020204030204" pitchFamily="34" charset="0"/>
              </a:defRPr>
            </a:lvl1pPr>
            <a:lvl2pPr>
              <a:defRPr b="0" i="0">
                <a:latin typeface="+mj-lt"/>
                <a:cs typeface="Calibri" panose="020F0502020204030204" pitchFamily="34" charset="0"/>
              </a:defRPr>
            </a:lvl2pPr>
            <a:lvl3pPr>
              <a:defRPr b="0" i="0">
                <a:latin typeface="+mj-lt"/>
                <a:cs typeface="Calibri" panose="020F0502020204030204" pitchFamily="34" charset="0"/>
              </a:defRPr>
            </a:lvl3pPr>
            <a:lvl4pPr>
              <a:defRPr b="0" i="0">
                <a:latin typeface="+mj-lt"/>
                <a:cs typeface="Calibri" panose="020F0502020204030204" pitchFamily="34" charset="0"/>
              </a:defRPr>
            </a:lvl4pPr>
            <a:lvl5pPr>
              <a:defRPr b="0" i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623A2F-C6A7-44DE-849A-B4A8781649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7039" y="6253745"/>
            <a:ext cx="2410258" cy="52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255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FC81D-9CA2-4580-BB28-7108737CB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5C07CE-D1ED-4E0A-93A7-BF2F0A4C2E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741C88-2C5B-424B-9BD2-0661DB0BD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17C386-B8D7-4538-AFE6-B3D2AB1D14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9D824F-FC04-4AEE-AA2D-DB0242E42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1555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1D9284-D300-4297-87F7-E791DCC15DB1}" type="datetimeFigureOut">
              <a:rPr lang="en-US" smtClean="0">
                <a:solidFill>
                  <a:prstClr val="black"/>
                </a:solidFill>
              </a:rPr>
              <a:pPr/>
              <a:t>5/19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0411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7AE24-723E-5D4C-A7A9-CD163B529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1EACFDEF-700F-BD4C-B918-05A0B3BA56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41563" y="2114392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8E9C9BA-F67B-E34E-95C5-5AD394384D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41563" y="2557586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39BF73FB-2ABB-6249-8344-24DA552B66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90038" y="2763103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D1AE4A7-C8A8-C448-A255-81844AEF6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94613" y="2114392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CB452431-DF74-0F42-BE20-E7DAACE6E0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4613" y="2557586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B7850EBF-95D6-F44F-BC3B-D7AB7A5556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6343088" y="2763103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FB632407-F11D-CB4D-89B3-A95C18B614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41563" y="4446744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E9EF6DD-1C56-E742-A56C-6FE3B58F48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41563" y="4886448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9753F006-0454-0441-AD23-901F013D28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613" y="4446744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54" name="Text Placeholder 11">
            <a:extLst>
              <a:ext uri="{FF2B5EF4-FFF2-40B4-BE49-F238E27FC236}">
                <a16:creationId xmlns:a16="http://schemas.microsoft.com/office/drawing/2014/main" id="{87C89CB4-30C2-F741-9BEB-4D8271739C3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394613" y="4886448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702809CA-8125-2649-8988-D480BCC460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rot="16200000">
            <a:off x="6343088" y="5095156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81A002BC-712C-7745-9135-95986472AB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190038" y="5095155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18260173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page">
  <p:cSld name="1_Content pag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32"/>
          <p:cNvSpPr txBox="1"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3600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A49A"/>
              </a:buClr>
              <a:buSzPts val="2400"/>
              <a:buFont typeface="Arial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32"/>
          <p:cNvSpPr txBox="1">
            <a:spLocks noGrp="1"/>
          </p:cNvSpPr>
          <p:nvPr>
            <p:ph type="body" idx="1"/>
          </p:nvPr>
        </p:nvSpPr>
        <p:spPr>
          <a:xfrm>
            <a:off x="342900" y="1257300"/>
            <a:ext cx="115062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&gt;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32"/>
          <p:cNvSpPr txBox="1">
            <a:spLocks noGrp="1"/>
          </p:cNvSpPr>
          <p:nvPr>
            <p:ph type="body" idx="2"/>
          </p:nvPr>
        </p:nvSpPr>
        <p:spPr>
          <a:xfrm>
            <a:off x="334963" y="6277726"/>
            <a:ext cx="10217697" cy="523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&gt;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64706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6277726"/>
            <a:ext cx="10217697" cy="523610"/>
          </a:xfrm>
          <a:prstGeom prst="rect">
            <a:avLst/>
          </a:prstGeom>
        </p:spPr>
        <p:txBody>
          <a:bodyPr lIns="45720" rIns="45720" anchor="b"/>
          <a:lstStyle>
            <a:lvl1pPr marL="0" indent="0">
              <a:spcBef>
                <a:spcPct val="0"/>
              </a:spcBef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insert slide notes</a:t>
            </a:r>
          </a:p>
        </p:txBody>
      </p:sp>
      <p:sp>
        <p:nvSpPr>
          <p:cNvPr id="4" name="btfpLayoutConfig" hidden="1"/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9840226499483 columns_1_132229840226499483 </a:t>
            </a:r>
          </a:p>
        </p:txBody>
      </p:sp>
    </p:spTree>
    <p:extLst>
      <p:ext uri="{BB962C8B-B14F-4D97-AF65-F5344CB8AC3E}">
        <p14:creationId xmlns:p14="http://schemas.microsoft.com/office/powerpoint/2010/main" val="66313422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2402">
          <p15:clr>
            <a:srgbClr val="CCCCCC"/>
          </p15:clr>
        </p15:guide>
        <p15:guide id="3" pos="2742">
          <p15:clr>
            <a:srgbClr val="CCCCCC"/>
          </p15:clr>
        </p15:guide>
        <p15:guide id="4" pos="4937">
          <p15:clr>
            <a:srgbClr val="CCCCCC"/>
          </p15:clr>
        </p15:guide>
        <p15:guide id="5" pos="5277">
          <p15:clr>
            <a:srgbClr val="CCCCCC"/>
          </p15:clr>
        </p15:guide>
        <p15:guide id="6" pos="7472">
          <p15:clr>
            <a:srgbClr val="CCCCCC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14913"/>
            <a:ext cx="5152309" cy="2483318"/>
          </a:xfrm>
          <a:prstGeom prst="rect">
            <a:avLst/>
          </a:prstGeom>
        </p:spPr>
      </p:pic>
      <p:sp>
        <p:nvSpPr>
          <p:cNvPr id="9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35267" y="5341379"/>
            <a:ext cx="11221770" cy="90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10" name="Title"/>
          <p:cNvSpPr>
            <a:spLocks noGrp="1"/>
          </p:cNvSpPr>
          <p:nvPr>
            <p:ph type="ctrTitle" hasCustomPrompt="1"/>
          </p:nvPr>
        </p:nvSpPr>
        <p:spPr>
          <a:xfrm>
            <a:off x="635267" y="4396629"/>
            <a:ext cx="11221770" cy="900112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0"/>
              </a:spcBef>
              <a:defRPr sz="3600" b="0">
                <a:solidFill>
                  <a:srgbClr val="00A49A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2461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42900" y="1257300"/>
            <a:ext cx="11506200" cy="49911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buFont typeface="Arial" panose="020B0604020202020204" pitchFamily="34" charset="0"/>
              <a:buChar char="&gt;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8600">
              <a:buFont typeface="Arial" panose="020B0604020202020204" pitchFamily="34" charset="0"/>
              <a:buChar char="–"/>
              <a:defRPr sz="14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8131921618233 columns_1_132228131921618233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4" y="6277726"/>
            <a:ext cx="6830712" cy="523610"/>
          </a:xfrm>
          <a:prstGeom prst="rect">
            <a:avLst/>
          </a:prstGeom>
        </p:spPr>
        <p:txBody>
          <a:bodyPr lIns="45720" rIns="45720" anchor="b"/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insert slide notes</a:t>
            </a:r>
          </a:p>
        </p:txBody>
      </p:sp>
    </p:spTree>
    <p:extLst>
      <p:ext uri="{BB962C8B-B14F-4D97-AF65-F5344CB8AC3E}">
        <p14:creationId xmlns:p14="http://schemas.microsoft.com/office/powerpoint/2010/main" val="122295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376" y="2124456"/>
            <a:ext cx="5413248" cy="2609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52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AE094-4723-4E7D-89F2-5CFCAE80CF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740EFB-DFEC-4DBD-9BFC-F41A13D32B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0D9FAB-5020-48BB-9668-AAD37DFFDE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8B550-BC91-471E-A76D-C37FF51A3093}" type="datetimeFigureOut">
              <a:rPr lang="en-US" smtClean="0">
                <a:solidFill>
                  <a:prstClr val="black"/>
                </a:solidFill>
              </a:rPr>
              <a:pPr/>
              <a:t>5/19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235492-F019-4E86-BBAA-3C2C0BFDA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AB1B25-0EC3-477E-8CE1-742D218D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0DAAD-609E-41BE-9B3A-DF776786CD2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2720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23CCD56-686F-9040-8067-5B0CA60A43B4}"/>
              </a:ext>
            </a:extLst>
          </p:cNvPr>
          <p:cNvGraphicFramePr/>
          <p:nvPr userDrawn="1"/>
        </p:nvGraphicFramePr>
        <p:xfrm>
          <a:off x="7903285" y="873908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0A1C6801-269E-DE4E-866D-89E4525E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771" y="1600201"/>
            <a:ext cx="3686157" cy="1653987"/>
          </a:xfrm>
        </p:spPr>
        <p:txBody>
          <a:bodyPr anchor="t">
            <a:normAutofit/>
          </a:bodyPr>
          <a:lstStyle>
            <a:lvl1pPr>
              <a:defRPr sz="4000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FDC2494E-5F96-6F4C-B7CE-0E1AA2A4B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2772" y="3372171"/>
            <a:ext cx="3686156" cy="274015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0D230B-8854-E64F-A6A5-A520591CB4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48939" y="2743200"/>
            <a:ext cx="2239618" cy="115252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3CABAA-BD81-4BA0-AE62-137949B0F1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078" y="145633"/>
            <a:ext cx="3321930" cy="72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4915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042987"/>
            <a:ext cx="10515600" cy="1325563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99682"/>
            <a:ext cx="10515600" cy="4351338"/>
          </a:xfrm>
        </p:spPr>
        <p:txBody>
          <a:bodyPr/>
          <a:lstStyle>
            <a:lvl1pPr marL="0" indent="0">
              <a:buFontTx/>
              <a:buNone/>
              <a:defRPr b="0" i="0">
                <a:latin typeface="+mj-lt"/>
                <a:cs typeface="Calibri" panose="020F0502020204030204" pitchFamily="34" charset="0"/>
              </a:defRPr>
            </a:lvl1pPr>
            <a:lvl2pPr>
              <a:defRPr b="0" i="0">
                <a:latin typeface="+mj-lt"/>
                <a:cs typeface="Calibri" panose="020F0502020204030204" pitchFamily="34" charset="0"/>
              </a:defRPr>
            </a:lvl2pPr>
            <a:lvl3pPr>
              <a:defRPr b="0" i="0">
                <a:latin typeface="+mj-lt"/>
                <a:cs typeface="Calibri" panose="020F0502020204030204" pitchFamily="34" charset="0"/>
              </a:defRPr>
            </a:lvl3pPr>
            <a:lvl4pPr>
              <a:defRPr b="0" i="0">
                <a:latin typeface="+mj-lt"/>
                <a:cs typeface="Calibri" panose="020F0502020204030204" pitchFamily="34" charset="0"/>
              </a:defRPr>
            </a:lvl4pPr>
            <a:lvl5pPr>
              <a:defRPr b="0" i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623A2F-C6A7-44DE-849A-B4A8781649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7039" y="6253745"/>
            <a:ext cx="2410258" cy="52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555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C3C62-3C11-418C-88F2-633ABF3228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B3C329-1EE5-4FBE-A337-6C515FE7ED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27F6EC0-74CC-4365-B8D1-6BA5280AD4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D62BFC-AD13-49D6-B0FE-F30650BA2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FA8A1B-EAFD-4BB7-91FF-6C40B9C28C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2C298E-B2F5-44E9-AFB9-27638D4F9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4811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1D9284-D300-4297-87F7-E791DCC15DB1}" type="datetimeFigureOut">
              <a:rPr lang="en-US" smtClean="0">
                <a:solidFill>
                  <a:prstClr val="black"/>
                </a:solidFill>
              </a:rPr>
              <a:pPr/>
              <a:t>5/19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9495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7AE24-723E-5D4C-A7A9-CD163B529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1EACFDEF-700F-BD4C-B918-05A0B3BA56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41563" y="2114392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8E9C9BA-F67B-E34E-95C5-5AD394384D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41563" y="2557586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39BF73FB-2ABB-6249-8344-24DA552B66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90038" y="2763103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D1AE4A7-C8A8-C448-A255-81844AEF6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94613" y="2114392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CB452431-DF74-0F42-BE20-E7DAACE6E0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4613" y="2557586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B7850EBF-95D6-F44F-BC3B-D7AB7A5556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6343088" y="2763103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FB632407-F11D-CB4D-89B3-A95C18B614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41563" y="4446744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E9EF6DD-1C56-E742-A56C-6FE3B58F48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41563" y="4886448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9753F006-0454-0441-AD23-901F013D28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613" y="4446744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54" name="Text Placeholder 11">
            <a:extLst>
              <a:ext uri="{FF2B5EF4-FFF2-40B4-BE49-F238E27FC236}">
                <a16:creationId xmlns:a16="http://schemas.microsoft.com/office/drawing/2014/main" id="{87C89CB4-30C2-F741-9BEB-4D8271739C3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394613" y="4886448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702809CA-8125-2649-8988-D480BCC460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rot="16200000">
            <a:off x="6343088" y="5095156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81A002BC-712C-7745-9135-95986472AB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190038" y="5095155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5805925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page">
  <p:cSld name="1_Content pag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32"/>
          <p:cNvSpPr txBox="1"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3600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A49A"/>
              </a:buClr>
              <a:buSzPts val="2400"/>
              <a:buFont typeface="Arial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32"/>
          <p:cNvSpPr txBox="1">
            <a:spLocks noGrp="1"/>
          </p:cNvSpPr>
          <p:nvPr>
            <p:ph type="body" idx="1"/>
          </p:nvPr>
        </p:nvSpPr>
        <p:spPr>
          <a:xfrm>
            <a:off x="342900" y="1257300"/>
            <a:ext cx="115062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&gt;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32"/>
          <p:cNvSpPr txBox="1">
            <a:spLocks noGrp="1"/>
          </p:cNvSpPr>
          <p:nvPr>
            <p:ph type="body" idx="2"/>
          </p:nvPr>
        </p:nvSpPr>
        <p:spPr>
          <a:xfrm>
            <a:off x="334963" y="6277726"/>
            <a:ext cx="10217697" cy="523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&gt;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412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6277726"/>
            <a:ext cx="10217697" cy="523610"/>
          </a:xfrm>
          <a:prstGeom prst="rect">
            <a:avLst/>
          </a:prstGeom>
        </p:spPr>
        <p:txBody>
          <a:bodyPr lIns="45720" rIns="45720" anchor="b"/>
          <a:lstStyle>
            <a:lvl1pPr marL="0" indent="0">
              <a:spcBef>
                <a:spcPct val="0"/>
              </a:spcBef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insert slide notes</a:t>
            </a:r>
          </a:p>
        </p:txBody>
      </p:sp>
      <p:sp>
        <p:nvSpPr>
          <p:cNvPr id="4" name="btfpLayoutConfig" hidden="1"/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9840226499483 columns_1_132229840226499483 </a:t>
            </a:r>
          </a:p>
        </p:txBody>
      </p:sp>
    </p:spTree>
    <p:extLst>
      <p:ext uri="{BB962C8B-B14F-4D97-AF65-F5344CB8AC3E}">
        <p14:creationId xmlns:p14="http://schemas.microsoft.com/office/powerpoint/2010/main" val="409396027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2402">
          <p15:clr>
            <a:srgbClr val="CCCCCC"/>
          </p15:clr>
        </p15:guide>
        <p15:guide id="3" pos="2742">
          <p15:clr>
            <a:srgbClr val="CCCCCC"/>
          </p15:clr>
        </p15:guide>
        <p15:guide id="4" pos="4937">
          <p15:clr>
            <a:srgbClr val="CCCCCC"/>
          </p15:clr>
        </p15:guide>
        <p15:guide id="5" pos="5277">
          <p15:clr>
            <a:srgbClr val="CCCCCC"/>
          </p15:clr>
        </p15:guide>
        <p15:guide id="6" pos="7472">
          <p15:clr>
            <a:srgbClr val="CCCCCC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14913"/>
            <a:ext cx="5152309" cy="2483318"/>
          </a:xfrm>
          <a:prstGeom prst="rect">
            <a:avLst/>
          </a:prstGeom>
        </p:spPr>
      </p:pic>
      <p:sp>
        <p:nvSpPr>
          <p:cNvPr id="9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35267" y="5341379"/>
            <a:ext cx="11221770" cy="90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10" name="Title"/>
          <p:cNvSpPr>
            <a:spLocks noGrp="1"/>
          </p:cNvSpPr>
          <p:nvPr>
            <p:ph type="ctrTitle" hasCustomPrompt="1"/>
          </p:nvPr>
        </p:nvSpPr>
        <p:spPr>
          <a:xfrm>
            <a:off x="635267" y="4396629"/>
            <a:ext cx="11221770" cy="900112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0"/>
              </a:spcBef>
              <a:defRPr sz="3600" b="0">
                <a:solidFill>
                  <a:srgbClr val="00A49A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7745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42900" y="1257300"/>
            <a:ext cx="11506200" cy="49911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buFont typeface="Arial" panose="020B0604020202020204" pitchFamily="34" charset="0"/>
              <a:buChar char="&gt;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buFont typeface="Arial" panose="020B0604020202020204" pitchFamily="34" charset="0"/>
              <a:buChar char="–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8600">
              <a:buFont typeface="Arial" panose="020B0604020202020204" pitchFamily="34" charset="0"/>
              <a:buChar char="–"/>
              <a:defRPr sz="1400" baseline="0"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8131921618233 columns_1_132228131921618233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4" y="6277726"/>
            <a:ext cx="6830712" cy="523610"/>
          </a:xfrm>
          <a:prstGeom prst="rect">
            <a:avLst/>
          </a:prstGeom>
        </p:spPr>
        <p:txBody>
          <a:bodyPr lIns="45720" rIns="45720" anchor="b"/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insert slide notes</a:t>
            </a:r>
          </a:p>
        </p:txBody>
      </p:sp>
    </p:spTree>
    <p:extLst>
      <p:ext uri="{BB962C8B-B14F-4D97-AF65-F5344CB8AC3E}">
        <p14:creationId xmlns:p14="http://schemas.microsoft.com/office/powerpoint/2010/main" val="230149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376" y="2124456"/>
            <a:ext cx="5413248" cy="2609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820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AE094-4723-4E7D-89F2-5CFCAE80CF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740EFB-DFEC-4DBD-9BFC-F41A13D32B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0D9FAB-5020-48BB-9668-AAD37DFFDE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8B550-BC91-471E-A76D-C37FF51A3093}" type="datetimeFigureOut">
              <a:rPr lang="en-US" smtClean="0">
                <a:solidFill>
                  <a:prstClr val="black"/>
                </a:solidFill>
              </a:rPr>
              <a:pPr/>
              <a:t>5/19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235492-F019-4E86-BBAA-3C2C0BFDA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AB1B25-0EC3-477E-8CE1-742D218D8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70DAAD-609E-41BE-9B3A-DF776786CD2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7503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F937C-1130-4283-91FF-5690CAB55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72700F-1B0C-490B-BAFE-1F3600F24C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0A3C5D-0EF1-4525-85B9-24E504E5F78B}" type="datetimeFigureOut">
              <a:rPr lang="en-US" smtClean="0">
                <a:solidFill>
                  <a:prstClr val="black"/>
                </a:solidFill>
              </a:rPr>
              <a:pPr/>
              <a:t>5/19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073F82-B73D-4C18-8E00-C1B803708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54EE0F-5F50-4C9C-9730-FBD82C830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DD39FC-985B-43C0-8EF5-EEB940DFF5D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5116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A23CCD56-686F-9040-8067-5B0CA60A43B4}"/>
              </a:ext>
            </a:extLst>
          </p:cNvPr>
          <p:cNvGraphicFramePr/>
          <p:nvPr userDrawn="1"/>
        </p:nvGraphicFramePr>
        <p:xfrm>
          <a:off x="7903285" y="873908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0A1C6801-269E-DE4E-866D-89E4525ED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771" y="1600201"/>
            <a:ext cx="3686157" cy="1653987"/>
          </a:xfrm>
        </p:spPr>
        <p:txBody>
          <a:bodyPr anchor="t">
            <a:normAutofit/>
          </a:bodyPr>
          <a:lstStyle>
            <a:lvl1pPr>
              <a:defRPr sz="4000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FDC2494E-5F96-6F4C-B7CE-0E1AA2A4B7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2772" y="3372171"/>
            <a:ext cx="3686156" cy="274015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0D230B-8854-E64F-A6A5-A520591CB4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48939" y="2743200"/>
            <a:ext cx="2239618" cy="115252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3CABAA-BD81-4BA0-AE62-137949B0F1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078" y="145633"/>
            <a:ext cx="3321930" cy="72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6716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10F648-BD2C-49F1-BD4E-B10D811F3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732768-7B6F-4AE8-81CC-BECC680291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AE2412-142F-4EAD-BDFA-D7ACFFB690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5CB8AF9-E5AE-47E2-BDD6-ACA20434E3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0376DE-81D6-4905-9BF2-45FCF43101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EBD5F0D-18C4-4661-BE33-281B5E46C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B44A328-16A5-4349-84C1-C32979297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7F7F45E-3805-4B55-86EB-CB0F4BAC5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6054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042987"/>
            <a:ext cx="10515600" cy="1325563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99682"/>
            <a:ext cx="10515600" cy="4351338"/>
          </a:xfrm>
        </p:spPr>
        <p:txBody>
          <a:bodyPr/>
          <a:lstStyle>
            <a:lvl1pPr marL="0" indent="0">
              <a:buFontTx/>
              <a:buNone/>
              <a:defRPr b="0" i="0">
                <a:latin typeface="+mj-lt"/>
                <a:cs typeface="Calibri" panose="020F0502020204030204" pitchFamily="34" charset="0"/>
              </a:defRPr>
            </a:lvl1pPr>
            <a:lvl2pPr>
              <a:defRPr b="0" i="0">
                <a:latin typeface="+mj-lt"/>
                <a:cs typeface="Calibri" panose="020F0502020204030204" pitchFamily="34" charset="0"/>
              </a:defRPr>
            </a:lvl2pPr>
            <a:lvl3pPr>
              <a:defRPr b="0" i="0">
                <a:latin typeface="+mj-lt"/>
                <a:cs typeface="Calibri" panose="020F0502020204030204" pitchFamily="34" charset="0"/>
              </a:defRPr>
            </a:lvl3pPr>
            <a:lvl4pPr>
              <a:defRPr b="0" i="0">
                <a:latin typeface="+mj-lt"/>
                <a:cs typeface="Calibri" panose="020F0502020204030204" pitchFamily="34" charset="0"/>
              </a:defRPr>
            </a:lvl4pPr>
            <a:lvl5pPr>
              <a:defRPr b="0" i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623A2F-C6A7-44DE-849A-B4A8781649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7039" y="6253745"/>
            <a:ext cx="2410258" cy="52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1030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1D9284-D300-4297-87F7-E791DCC15DB1}" type="datetimeFigureOut">
              <a:rPr lang="en-US" smtClean="0">
                <a:solidFill>
                  <a:prstClr val="black"/>
                </a:solidFill>
              </a:rPr>
              <a:pPr/>
              <a:t>5/19/202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
           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78116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7AE24-723E-5D4C-A7A9-CD163B529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1EACFDEF-700F-BD4C-B918-05A0B3BA56B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41563" y="2114392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F8E9C9BA-F67B-E34E-95C5-5AD394384D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41563" y="2557586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39BF73FB-2ABB-6249-8344-24DA552B662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90038" y="2763103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8D1AE4A7-C8A8-C448-A255-81844AEF6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94613" y="2114392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CB452431-DF74-0F42-BE20-E7DAACE6E0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94613" y="2557586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B7850EBF-95D6-F44F-BC3B-D7AB7A5556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6343088" y="2763103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FB632407-F11D-CB4D-89B3-A95C18B614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41563" y="4446744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7E9EF6DD-1C56-E742-A56C-6FE3B58F489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41563" y="4886448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9753F006-0454-0441-AD23-901F013D28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94613" y="4446744"/>
            <a:ext cx="4372505" cy="338328"/>
          </a:xfrm>
        </p:spPr>
        <p:txBody>
          <a:bodyPr/>
          <a:lstStyle>
            <a:lvl1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 smtClean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1600" b="1" kern="1200" dirty="0">
                <a:solidFill>
                  <a:srgbClr val="48ACB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ITLE GOES HERE</a:t>
            </a:r>
          </a:p>
        </p:txBody>
      </p:sp>
      <p:sp>
        <p:nvSpPr>
          <p:cNvPr id="54" name="Text Placeholder 11">
            <a:extLst>
              <a:ext uri="{FF2B5EF4-FFF2-40B4-BE49-F238E27FC236}">
                <a16:creationId xmlns:a16="http://schemas.microsoft.com/office/drawing/2014/main" id="{87C89CB4-30C2-F741-9BEB-4D8271739C3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394613" y="4886448"/>
            <a:ext cx="4372505" cy="1179576"/>
          </a:xfrm>
        </p:spPr>
        <p:txBody>
          <a:bodyPr/>
          <a:lstStyle>
            <a:lvl1pPr marL="285750" indent="-28575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8788" indent="-279400" algn="l" defTabSz="608076" rtl="0" eaLnBrk="1" latinLnBrk="0" hangingPunct="1">
              <a:lnSpc>
                <a:spcPct val="130000"/>
              </a:lnSpc>
              <a:spcBef>
                <a:spcPts val="30"/>
              </a:spcBef>
              <a:buClr>
                <a:srgbClr val="006272"/>
              </a:buClr>
              <a:buFont typeface="Arial" panose="020B0604020202020204" pitchFamily="34" charset="0"/>
              <a:buChar char="•"/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55" name="Text Placeholder 15">
            <a:extLst>
              <a:ext uri="{FF2B5EF4-FFF2-40B4-BE49-F238E27FC236}">
                <a16:creationId xmlns:a16="http://schemas.microsoft.com/office/drawing/2014/main" id="{702809CA-8125-2649-8988-D480BCC460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 rot="16200000">
            <a:off x="6343088" y="5095156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81A002BC-712C-7745-9135-95986472AB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16200000">
            <a:off x="190038" y="5095155"/>
            <a:ext cx="896112" cy="705834"/>
          </a:xfrm>
        </p:spPr>
        <p:txBody>
          <a:bodyPr/>
          <a:lstStyle>
            <a:lvl1pPr marL="0" algn="r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1216152" rtl="0" eaLnBrk="1" latinLnBrk="0" hangingPunct="1">
              <a:buClr>
                <a:srgbClr val="000000"/>
              </a:buClr>
              <a:buSzPts val="1800"/>
              <a:defRPr lang="en-US" sz="4000" kern="1200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No.</a:t>
            </a:r>
          </a:p>
        </p:txBody>
      </p:sp>
    </p:spTree>
    <p:extLst>
      <p:ext uri="{BB962C8B-B14F-4D97-AF65-F5344CB8AC3E}">
        <p14:creationId xmlns:p14="http://schemas.microsoft.com/office/powerpoint/2010/main" val="87160833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page">
  <p:cSld name="1_Content pag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32"/>
          <p:cNvSpPr txBox="1"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36000" bIns="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A49A"/>
              </a:buClr>
              <a:buSzPts val="2400"/>
              <a:buFont typeface="Arial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32"/>
          <p:cNvSpPr txBox="1">
            <a:spLocks noGrp="1"/>
          </p:cNvSpPr>
          <p:nvPr>
            <p:ph type="body" idx="1"/>
          </p:nvPr>
        </p:nvSpPr>
        <p:spPr>
          <a:xfrm>
            <a:off x="342900" y="1257300"/>
            <a:ext cx="115062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&gt;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32"/>
          <p:cNvSpPr txBox="1">
            <a:spLocks noGrp="1"/>
          </p:cNvSpPr>
          <p:nvPr>
            <p:ph type="body" idx="2"/>
          </p:nvPr>
        </p:nvSpPr>
        <p:spPr>
          <a:xfrm>
            <a:off x="334963" y="6277726"/>
            <a:ext cx="10217697" cy="523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b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&gt;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7280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6277726"/>
            <a:ext cx="10217697" cy="523610"/>
          </a:xfrm>
          <a:prstGeom prst="rect">
            <a:avLst/>
          </a:prstGeom>
        </p:spPr>
        <p:txBody>
          <a:bodyPr lIns="45720" rIns="45720" anchor="b"/>
          <a:lstStyle>
            <a:lvl1pPr marL="0" indent="0">
              <a:spcBef>
                <a:spcPct val="0"/>
              </a:spcBef>
              <a:buNone/>
              <a:defRPr sz="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insert slide notes</a:t>
            </a:r>
          </a:p>
        </p:txBody>
      </p:sp>
      <p:sp>
        <p:nvSpPr>
          <p:cNvPr id="4" name="btfpLayoutConfig" hidden="1"/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9840226499483 columns_1_132229840226499483 </a:t>
            </a:r>
          </a:p>
        </p:txBody>
      </p:sp>
    </p:spTree>
    <p:extLst>
      <p:ext uri="{BB962C8B-B14F-4D97-AF65-F5344CB8AC3E}">
        <p14:creationId xmlns:p14="http://schemas.microsoft.com/office/powerpoint/2010/main" val="284132522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2402">
          <p15:clr>
            <a:srgbClr val="CCCCCC"/>
          </p15:clr>
        </p15:guide>
        <p15:guide id="3" pos="2742">
          <p15:clr>
            <a:srgbClr val="CCCCCC"/>
          </p15:clr>
        </p15:guide>
        <p15:guide id="4" pos="4937">
          <p15:clr>
            <a:srgbClr val="CCCCCC"/>
          </p15:clr>
        </p15:guide>
        <p15:guide id="5" pos="5277">
          <p15:clr>
            <a:srgbClr val="CCCCCC"/>
          </p15:clr>
        </p15:guide>
        <p15:guide id="6" pos="7472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57D414-B65F-41C5-BC18-9B0C402347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23A20EE-D0E9-4264-8905-74F51A3202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BB6854-5F6E-4267-BCDF-0F340622D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A37D37-BE3D-426C-BF5A-6FA064D75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39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266C21-E758-4850-8D5B-10928106F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F95232-DFCA-4B13-96C0-47EC7B723E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EF0CE6-79C3-4678-BE8F-A189E1F0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0798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6C2393-4856-4E82-A75E-5840E7F01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B5F3DA-3E5C-46D7-B769-B2293B2487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FF414D-AFA1-4C58-BA3C-5FC878CB0A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62E65D-2077-4A7B-9BEB-58D416873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CE4824-30E0-4E10-AE4D-65835FF94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243A3B-A2A2-4603-B117-615B3193D8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403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A5C784-B35C-4AAD-8EDE-17D1E82C8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0E6E008-7176-4005-A635-4A3ED63AFA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E249B4-8E5F-45AD-9467-E43F1FF286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D9043B-7162-43AB-A866-993F491249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3E8A8-6FFF-4BC6-AA45-0F643A9E6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F15E84-ADDB-4403-891A-59C3239EE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658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1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3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ags" Target="../tags/tag5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ags" Target="../tags/tag7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5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844AC9-EB73-4C01-BC6C-297096268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C8C4CC-DB84-4E35-A56D-4B444AECC6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BBA39D-CB87-4C17-8C9F-2F18B76FB4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3CF960-CC66-4461-A010-7E71395CF9F6}" type="datetimeFigureOut">
              <a:rPr lang="en-US" smtClean="0"/>
              <a:t>5/1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D0E509-E5A0-4CB1-8490-AB6FFFC2C6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861A44-19FF-4B3A-9B71-D230588C18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1FA308-3A0B-437B-965B-015AA9E6F5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494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E7C27F-FC10-445B-948F-123EBB02BB65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03" imgH="503" progId="TCLayout.ActiveDocument.1">
                  <p:embed/>
                </p:oleObj>
              </mc:Choice>
              <mc:Fallback>
                <p:oleObj name="think-cell Slide" r:id="rId14" imgW="503" imgH="5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E7C27F-FC10-445B-948F-123EBB02B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019A91-715E-467A-ABB3-7A999E1B25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2660" y="6277726"/>
            <a:ext cx="1086369" cy="52361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 bwMode="gray">
          <a:xfrm>
            <a:off x="334963" y="916553"/>
            <a:ext cx="11522075" cy="0"/>
          </a:xfrm>
          <a:prstGeom prst="line">
            <a:avLst/>
          </a:prstGeom>
          <a:ln w="12700" cap="flat">
            <a:solidFill>
              <a:srgbClr val="00A49A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Number"/>
          <p:cNvSpPr/>
          <p:nvPr/>
        </p:nvSpPr>
        <p:spPr bwMode="gray">
          <a:xfrm>
            <a:off x="11669486" y="6447198"/>
            <a:ext cx="187552" cy="18466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>
            <a:spAutoFit/>
          </a:bodyPr>
          <a:lstStyle/>
          <a:p>
            <a:pPr algn="r" defTabSz="711200">
              <a:spcBef>
                <a:spcPts val="1200"/>
              </a:spcBef>
            </a:pPr>
            <a:fld id="{BB69BBE8-4DB2-4642-B003-B220ACD5A2FD}" type="slidenum">
              <a:rPr lang="en-GB" sz="12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 defTabSz="711200">
                <a:spcBef>
                  <a:spcPts val="1200"/>
                </a:spcBef>
              </a:pPr>
              <a:t>‹#›</a:t>
            </a:fld>
            <a:endParaRPr lang="en-GB" sz="12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8133843625122 columns_1_132228133843625122 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607962E-A53B-4903-B2EC-602023797BA5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2603" y="6365793"/>
            <a:ext cx="1326053" cy="406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061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1" r:id="rId7"/>
    <p:sldLayoutId id="2147483672" r:id="rId8"/>
    <p:sldLayoutId id="2147483673" r:id="rId9"/>
    <p:sldLayoutId id="2147483674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A49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–"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8">
          <p15:clr>
            <a:srgbClr val="F26B43"/>
          </p15:clr>
        </p15:guide>
        <p15:guide id="2" orient="horz" pos="600">
          <p15:clr>
            <a:srgbClr val="F26B43"/>
          </p15:clr>
        </p15:guide>
        <p15:guide id="3" orient="horz" pos="3931">
          <p15:clr>
            <a:srgbClr val="F26B43"/>
          </p15:clr>
        </p15:guide>
        <p15:guide id="4" pos="211">
          <p15:clr>
            <a:srgbClr val="F26B43"/>
          </p15:clr>
        </p15:guide>
        <p15:guide id="5" pos="746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E7C27F-FC10-445B-948F-123EBB02BB65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03" imgH="503" progId="TCLayout.ActiveDocument.1">
                  <p:embed/>
                </p:oleObj>
              </mc:Choice>
              <mc:Fallback>
                <p:oleObj name="think-cell Slide" r:id="rId15" imgW="503" imgH="5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E7C27F-FC10-445B-948F-123EBB02B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019A91-715E-467A-ABB3-7A999E1B258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2660" y="6277726"/>
            <a:ext cx="1086369" cy="52361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 bwMode="gray">
          <a:xfrm>
            <a:off x="334963" y="916553"/>
            <a:ext cx="11522075" cy="0"/>
          </a:xfrm>
          <a:prstGeom prst="line">
            <a:avLst/>
          </a:prstGeom>
          <a:ln w="12700" cap="flat">
            <a:solidFill>
              <a:srgbClr val="00A49A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Number"/>
          <p:cNvSpPr/>
          <p:nvPr/>
        </p:nvSpPr>
        <p:spPr bwMode="gray">
          <a:xfrm>
            <a:off x="11669486" y="6447198"/>
            <a:ext cx="187552" cy="18466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>
            <a:spAutoFit/>
          </a:bodyPr>
          <a:lstStyle/>
          <a:p>
            <a:pPr algn="r" defTabSz="711200">
              <a:spcBef>
                <a:spcPts val="1200"/>
              </a:spcBef>
            </a:pPr>
            <a:fld id="{BB69BBE8-4DB2-4642-B003-B220ACD5A2FD}" type="slidenum">
              <a:rPr lang="en-GB" sz="12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 defTabSz="711200">
                <a:spcBef>
                  <a:spcPts val="1200"/>
                </a:spcBef>
              </a:pPr>
              <a:t>‹#›</a:t>
            </a:fld>
            <a:endParaRPr lang="en-GB" sz="12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8133843625122 columns_1_132228133843625122 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607962E-A53B-4903-B2EC-602023797BA5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2603" y="6365793"/>
            <a:ext cx="1326053" cy="406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66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A49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–"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8">
          <p15:clr>
            <a:srgbClr val="F26B43"/>
          </p15:clr>
        </p15:guide>
        <p15:guide id="2" orient="horz" pos="600">
          <p15:clr>
            <a:srgbClr val="F26B43"/>
          </p15:clr>
        </p15:guide>
        <p15:guide id="3" orient="horz" pos="3931">
          <p15:clr>
            <a:srgbClr val="F26B43"/>
          </p15:clr>
        </p15:guide>
        <p15:guide id="4" pos="211">
          <p15:clr>
            <a:srgbClr val="F26B43"/>
          </p15:clr>
        </p15:guide>
        <p15:guide id="5" pos="746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E7C27F-FC10-445B-948F-123EBB02BB65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03" imgH="503" progId="TCLayout.ActiveDocument.1">
                  <p:embed/>
                </p:oleObj>
              </mc:Choice>
              <mc:Fallback>
                <p:oleObj name="think-cell Slide" r:id="rId14" imgW="503" imgH="5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E7C27F-FC10-445B-948F-123EBB02B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019A91-715E-467A-ABB3-7A999E1B258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2660" y="6277726"/>
            <a:ext cx="1086369" cy="52361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 bwMode="gray">
          <a:xfrm>
            <a:off x="334963" y="916553"/>
            <a:ext cx="11522075" cy="0"/>
          </a:xfrm>
          <a:prstGeom prst="line">
            <a:avLst/>
          </a:prstGeom>
          <a:ln w="12700" cap="flat">
            <a:solidFill>
              <a:srgbClr val="00A49A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Number"/>
          <p:cNvSpPr/>
          <p:nvPr/>
        </p:nvSpPr>
        <p:spPr bwMode="gray">
          <a:xfrm>
            <a:off x="11669486" y="6447198"/>
            <a:ext cx="187552" cy="18466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>
            <a:spAutoFit/>
          </a:bodyPr>
          <a:lstStyle/>
          <a:p>
            <a:pPr algn="r" defTabSz="711200">
              <a:spcBef>
                <a:spcPts val="1200"/>
              </a:spcBef>
            </a:pPr>
            <a:fld id="{BB69BBE8-4DB2-4642-B003-B220ACD5A2FD}" type="slidenum">
              <a:rPr lang="en-GB" sz="12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 defTabSz="711200">
                <a:spcBef>
                  <a:spcPts val="1200"/>
                </a:spcBef>
              </a:pPr>
              <a:t>‹#›</a:t>
            </a:fld>
            <a:endParaRPr lang="en-GB" sz="12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8133843625122 columns_1_132228133843625122 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607962E-A53B-4903-B2EC-602023797BA5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2603" y="6365793"/>
            <a:ext cx="1326053" cy="406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213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A49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–"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8">
          <p15:clr>
            <a:srgbClr val="F26B43"/>
          </p15:clr>
        </p15:guide>
        <p15:guide id="2" orient="horz" pos="600">
          <p15:clr>
            <a:srgbClr val="F26B43"/>
          </p15:clr>
        </p15:guide>
        <p15:guide id="3" orient="horz" pos="3931">
          <p15:clr>
            <a:srgbClr val="F26B43"/>
          </p15:clr>
        </p15:guide>
        <p15:guide id="4" pos="211">
          <p15:clr>
            <a:srgbClr val="F26B43"/>
          </p15:clr>
        </p15:guide>
        <p15:guide id="5" pos="746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4E7C27F-FC10-445B-948F-123EBB02BB65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03" imgH="503" progId="TCLayout.ActiveDocument.1">
                  <p:embed/>
                </p:oleObj>
              </mc:Choice>
              <mc:Fallback>
                <p:oleObj name="think-cell Slide" r:id="rId15" imgW="503" imgH="5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4E7C27F-FC10-445B-948F-123EBB02BB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7019A91-715E-467A-ABB3-7A999E1B258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0" rIns="3600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2660" y="6277726"/>
            <a:ext cx="1086369" cy="52361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 bwMode="gray">
          <a:xfrm>
            <a:off x="334963" y="916553"/>
            <a:ext cx="11522075" cy="0"/>
          </a:xfrm>
          <a:prstGeom prst="line">
            <a:avLst/>
          </a:prstGeom>
          <a:ln w="12700" cap="flat">
            <a:solidFill>
              <a:srgbClr val="00A49A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Number"/>
          <p:cNvSpPr/>
          <p:nvPr/>
        </p:nvSpPr>
        <p:spPr bwMode="gray">
          <a:xfrm>
            <a:off x="11669486" y="6447198"/>
            <a:ext cx="187552" cy="18466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>
            <a:spAutoFit/>
          </a:bodyPr>
          <a:lstStyle/>
          <a:p>
            <a:pPr algn="r" defTabSz="711200">
              <a:spcBef>
                <a:spcPts val="1200"/>
              </a:spcBef>
            </a:pPr>
            <a:fld id="{BB69BBE8-4DB2-4642-B003-B220ACD5A2FD}" type="slidenum">
              <a:rPr lang="en-GB" sz="1200" smtClean="0">
                <a:solidFill>
                  <a:prstClr val="black">
                    <a:lumMod val="50000"/>
                    <a:lumOff val="50000"/>
                  </a:prstClr>
                </a:solidFill>
                <a:cs typeface="Arial" panose="020B0604020202020204" pitchFamily="34" charset="0"/>
              </a:rPr>
              <a:pPr algn="r" defTabSz="711200">
                <a:spcBef>
                  <a:spcPts val="1200"/>
                </a:spcBef>
              </a:pPr>
              <a:t>‹#›</a:t>
            </a:fld>
            <a:endParaRPr lang="en-GB" sz="1200">
              <a:solidFill>
                <a:prstClr val="black">
                  <a:lumMod val="50000"/>
                  <a:lumOff val="50000"/>
                </a:prstClr>
              </a:solidFill>
              <a:cs typeface="Arial" panose="020B0604020202020204" pitchFamily="34" charset="0"/>
            </a:endParaRP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2228133843625122 columns_1_132228133843625122 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607962E-A53B-4903-B2EC-602023797BA5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2603" y="6365793"/>
            <a:ext cx="1326053" cy="406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962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A49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–"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8">
          <p15:clr>
            <a:srgbClr val="F26B43"/>
          </p15:clr>
        </p15:guide>
        <p15:guide id="2" orient="horz" pos="600">
          <p15:clr>
            <a:srgbClr val="F26B43"/>
          </p15:clr>
        </p15:guide>
        <p15:guide id="3" orient="horz" pos="3931">
          <p15:clr>
            <a:srgbClr val="F26B43"/>
          </p15:clr>
        </p15:guide>
        <p15:guide id="4" pos="211">
          <p15:clr>
            <a:srgbClr val="F26B43"/>
          </p15:clr>
        </p15:guide>
        <p15:guide id="5" pos="74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.xml"/><Relationship Id="rId7" Type="http://schemas.openxmlformats.org/officeDocument/2006/relationships/oleObject" Target="../embeddings/oleObject9.bin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24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45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google.com/document/d/1WrZm1myq1dE8A3r4qTkD9wupXpqSFL4N/edit?usp=sharing&amp;ouid=108153962890200381803&amp;rtpof=true&amp;sd=true" TargetMode="External"/><Relationship Id="rId3" Type="http://schemas.openxmlformats.org/officeDocument/2006/relationships/slideLayout" Target="../slideLayouts/slideLayout19.xml"/><Relationship Id="rId7" Type="http://schemas.openxmlformats.org/officeDocument/2006/relationships/hyperlink" Target="https://docs.google.com/document/d/1Sj7BbqoecI_YKQAf8JRUhlzPQ0QC9VjD/edit?usp=sharing&amp;ouid=108153962890200381803&amp;rtpof=true&amp;sd=true" TargetMode="External"/><Relationship Id="rId12" Type="http://schemas.openxmlformats.org/officeDocument/2006/relationships/hyperlink" Target="https://docs.google.com/spreadsheets/d/1cSBUz6RDUyMezE9cuTEQVgu35vE02iME/edit?usp=sharing&amp;ouid=108153962890200381803&amp;rtpof=true&amp;sd=true" TargetMode="Externa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2.emf"/><Relationship Id="rId11" Type="http://schemas.openxmlformats.org/officeDocument/2006/relationships/hyperlink" Target="https://docs.google.com/document/d/1iriChcLck0ZpwvQBHFjBiKBTR8k0eIHq/edit?usp=sharing&amp;ouid=108153962890200381803&amp;rtpof=true&amp;sd=true" TargetMode="External"/><Relationship Id="rId5" Type="http://schemas.openxmlformats.org/officeDocument/2006/relationships/oleObject" Target="../embeddings/oleObject6.bin"/><Relationship Id="rId10" Type="http://schemas.openxmlformats.org/officeDocument/2006/relationships/hyperlink" Target="https://computingforall1-my.sharepoint.com/:w:/g/personal/dharam_computingforall1_onmicrosoft_com/EYuqotPbk_pNueAsa7ars2IBHBxBT3hPixvIjfudHfteTw" TargetMode="External"/><Relationship Id="rId4" Type="http://schemas.openxmlformats.org/officeDocument/2006/relationships/notesSlide" Target="../notesSlides/notesSlide4.xml"/><Relationship Id="rId9" Type="http://schemas.openxmlformats.org/officeDocument/2006/relationships/hyperlink" Target="https://cfaprojects.powerappsportals.com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mputingforall.org/" TargetMode="External"/><Relationship Id="rId2" Type="http://schemas.openxmlformats.org/officeDocument/2006/relationships/hyperlink" Target="mailto:info@computingforall.org" TargetMode="Externa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© Computing for All 2020. All Rights Reserved. </a:t>
            </a:r>
            <a:endParaRPr/>
          </a:p>
        </p:txBody>
      </p:sp>
      <p:sp>
        <p:nvSpPr>
          <p:cNvPr id="110" name="Google Shape;110;p1"/>
          <p:cNvSpPr txBox="1"/>
          <p:nvPr/>
        </p:nvSpPr>
        <p:spPr>
          <a:xfrm>
            <a:off x="2679906" y="4056222"/>
            <a:ext cx="6831673" cy="1086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040"/>
              <a:buFont typeface="Arial"/>
              <a:buNone/>
            </a:pPr>
            <a:r>
              <a:rPr lang="en-US" sz="2040" b="0" i="0" u="none" strike="noStrike" cap="none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rPr>
              <a:t>A 501(c) (3) Non-Profit Organization</a:t>
            </a:r>
            <a:br>
              <a:rPr lang="en-US" sz="2040" b="0" i="0" u="none" strike="noStrike" cap="none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2040" b="0" i="0" u="none" strike="noStrike" cap="none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rPr>
              <a:t>4534 1/2 University Way NE, Seattle, Washington 98105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2060"/>
              </a:buClr>
              <a:buSzPts val="2040"/>
              <a:buFont typeface="Arial"/>
              <a:buNone/>
            </a:pPr>
            <a:r>
              <a:rPr lang="en-US" sz="2040" b="0" i="0" u="none" strike="noStrike" cap="none">
                <a:solidFill>
                  <a:srgbClr val="002060"/>
                </a:solidFill>
                <a:latin typeface="Calibri"/>
                <a:ea typeface="Calibri"/>
                <a:cs typeface="Calibri"/>
                <a:sym typeface="Calibri"/>
              </a:rPr>
              <a:t> Email: info@computingforall.org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40"/>
              <a:buFont typeface="Arial"/>
              <a:buNone/>
            </a:pPr>
            <a:endParaRPr sz="204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1" name="Google Shape;111;p1"/>
          <p:cNvPicPr preferRelativeResize="0"/>
          <p:nvPr/>
        </p:nvPicPr>
        <p:blipFill rotWithShape="1">
          <a:blip r:embed="rId3">
            <a:alphaModFix/>
          </a:blip>
          <a:srcRect t="31974" b="31193"/>
          <a:stretch/>
        </p:blipFill>
        <p:spPr>
          <a:xfrm>
            <a:off x="1564816" y="1652425"/>
            <a:ext cx="3693747" cy="13603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" name="Google Shape;112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64608" y="1875431"/>
            <a:ext cx="1883349" cy="9143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16337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6E28C66-3482-4ACF-80FB-977533135B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03" imgH="503" progId="TCLayout.ActiveDocument.1">
                  <p:embed/>
                </p:oleObj>
              </mc:Choice>
              <mc:Fallback>
                <p:oleObj name="think-cell Slide" r:id="rId7" imgW="503" imgH="5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6E28C66-3482-4ACF-80FB-977533135B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6A35D99-A10F-4A5E-945A-C6CA01AFD93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924D03-BD25-4379-9938-82B74B86B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 Aligned Classroom Learning for the Cloud Computing Career Launch looks like…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B6E1E30-AF6A-4153-B378-5605DED5FC7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257300"/>
            <a:ext cx="8658766" cy="4991100"/>
          </a:xfrm>
        </p:spPr>
        <p:txBody>
          <a:bodyPr/>
          <a:lstStyle/>
          <a:p>
            <a:pPr marL="0" indent="0">
              <a:buNone/>
            </a:pPr>
            <a:r>
              <a:rPr lang="en-US" sz="2000" b="1"/>
              <a:t>2-year Associate’s Degree at WA Community and Technical Colleges in a cloud computing related discipline (e.g. cybersecurity, data analytics, etc.)  </a:t>
            </a:r>
          </a:p>
          <a:p>
            <a:pPr marL="0" indent="0">
              <a:buNone/>
            </a:pPr>
            <a:endParaRPr lang="en-US" sz="2000" b="1"/>
          </a:p>
          <a:p>
            <a:pPr marL="0" indent="0">
              <a:buNone/>
            </a:pPr>
            <a:r>
              <a:rPr lang="en-US" sz="2000" b="1"/>
              <a:t>Curriculum aligned to entry-level job requirements in cloud careers – with input from employer partners to address specific desired knowledge, skills, and abilities  </a:t>
            </a:r>
          </a:p>
          <a:p>
            <a:pPr marL="0" indent="0">
              <a:buNone/>
            </a:pPr>
            <a:endParaRPr lang="en-US" sz="2000" b="1"/>
          </a:p>
          <a:p>
            <a:pPr marL="0" indent="0">
              <a:buNone/>
            </a:pPr>
            <a:r>
              <a:rPr lang="en-US" sz="2000" b="1"/>
              <a:t>Professional Development for educators through AWS Educate Cloud Degree faculty courses 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endParaRPr lang="en-US"/>
          </a:p>
        </p:txBody>
      </p:sp>
      <p:sp>
        <p:nvSpPr>
          <p:cNvPr id="5" name="btfpBulletedList877426">
            <a:extLst>
              <a:ext uri="{FF2B5EF4-FFF2-40B4-BE49-F238E27FC236}">
                <a16:creationId xmlns:a16="http://schemas.microsoft.com/office/drawing/2014/main" id="{090EB626-882B-456D-AA91-28FC524540F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525937" y="2507287"/>
            <a:ext cx="2323163" cy="2473360"/>
          </a:xfrm>
          <a:prstGeom prst="rect">
            <a:avLst/>
          </a:prstGeom>
          <a:noFill/>
          <a:effectLst/>
        </p:spPr>
        <p:txBody>
          <a:bodyPr vert="horz" wrap="square" lIns="36000" tIns="36000" rIns="36000" bIns="36000" rtlCol="0">
            <a:spAutoFit/>
          </a:bodyPr>
          <a:lstStyle/>
          <a:p>
            <a:pPr marL="177800" indent="-177800" defTabSz="711200">
              <a:spcBef>
                <a:spcPts val="1200"/>
              </a:spcBef>
              <a:spcAft>
                <a:spcPct val="0"/>
              </a:spcAft>
              <a:buFontTx/>
              <a:buChar char="•"/>
              <a:defRPr>
                <a:effectLst/>
              </a:defRPr>
            </a:pPr>
            <a:r>
              <a:rPr lang="en-US" sz="1400">
                <a:solidFill>
                  <a:srgbClr val="000000"/>
                </a:solidFill>
                <a:cs typeface="Arial"/>
              </a:rPr>
              <a:t>Curriculum and program requirements developed in partnership with employers and industry</a:t>
            </a:r>
          </a:p>
          <a:p>
            <a:pPr marL="177800" indent="-177800" defTabSz="711200">
              <a:spcBef>
                <a:spcPts val="1200"/>
              </a:spcBef>
              <a:spcAft>
                <a:spcPct val="0"/>
              </a:spcAft>
              <a:buFontTx/>
              <a:buChar char="•"/>
              <a:defRPr>
                <a:effectLst/>
              </a:defRPr>
            </a:pPr>
            <a:r>
              <a:rPr lang="en-US" sz="1400">
                <a:solidFill>
                  <a:srgbClr val="000000"/>
                </a:solidFill>
                <a:cs typeface="Arial"/>
              </a:rPr>
              <a:t>Aligned with academic and employer standards</a:t>
            </a:r>
          </a:p>
          <a:p>
            <a:pPr marL="177800" indent="-177800" defTabSz="711200">
              <a:spcBef>
                <a:spcPts val="1200"/>
              </a:spcBef>
              <a:spcAft>
                <a:spcPct val="0"/>
              </a:spcAft>
              <a:buFontTx/>
              <a:buChar char="•"/>
              <a:defRPr>
                <a:effectLst/>
              </a:defRPr>
            </a:pPr>
            <a:r>
              <a:rPr lang="en-US" sz="1400">
                <a:solidFill>
                  <a:srgbClr val="000000"/>
                </a:solidFill>
                <a:cs typeface="Arial"/>
              </a:rPr>
              <a:t>Qualified instructors</a:t>
            </a:r>
          </a:p>
          <a:p>
            <a:pPr marL="177800" indent="-177800" defTabSz="711200">
              <a:spcBef>
                <a:spcPts val="1200"/>
              </a:spcBef>
              <a:spcAft>
                <a:spcPct val="0"/>
              </a:spcAft>
              <a:buFontTx/>
              <a:buChar char="•"/>
              <a:defRPr>
                <a:effectLst/>
              </a:defRPr>
            </a:pPr>
            <a:r>
              <a:rPr lang="en-US" sz="1400">
                <a:solidFill>
                  <a:srgbClr val="000000"/>
                </a:solidFill>
                <a:cs typeface="Arial"/>
              </a:rPr>
              <a:t>Dedicated student support (academic and career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947B818-8179-44CF-BB28-4AF4E0E8AC81}"/>
              </a:ext>
            </a:extLst>
          </p:cNvPr>
          <p:cNvCxnSpPr>
            <a:cxnSpLocks/>
          </p:cNvCxnSpPr>
          <p:nvPr/>
        </p:nvCxnSpPr>
        <p:spPr>
          <a:xfrm>
            <a:off x="9420121" y="2539021"/>
            <a:ext cx="0" cy="867446"/>
          </a:xfrm>
          <a:prstGeom prst="line">
            <a:avLst/>
          </a:prstGeom>
          <a:ln w="762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899D3D5-ABBC-477D-9B6F-9E4C1D56299A}"/>
              </a:ext>
            </a:extLst>
          </p:cNvPr>
          <p:cNvCxnSpPr>
            <a:cxnSpLocks/>
          </p:cNvCxnSpPr>
          <p:nvPr/>
        </p:nvCxnSpPr>
        <p:spPr>
          <a:xfrm>
            <a:off x="9420121" y="3577604"/>
            <a:ext cx="0" cy="355408"/>
          </a:xfrm>
          <a:prstGeom prst="line">
            <a:avLst/>
          </a:prstGeom>
          <a:ln w="762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276364C5-B405-4914-A49C-10984E65E1F2}"/>
              </a:ext>
            </a:extLst>
          </p:cNvPr>
          <p:cNvSpPr/>
          <p:nvPr/>
        </p:nvSpPr>
        <p:spPr>
          <a:xfrm>
            <a:off x="9516352" y="2506776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r>
              <a:rPr lang="en-US" sz="1600">
                <a:solidFill>
                  <a:srgbClr val="000000"/>
                </a:solidFill>
                <a:cs typeface="Arial"/>
                <a:sym typeface="Wingdings" panose="05000000000000000000" pitchFamily="2" charset="2"/>
              </a:rPr>
              <a:t></a:t>
            </a:r>
            <a:endParaRPr lang="en-US" sz="1600">
              <a:solidFill>
                <a:srgbClr val="000000"/>
              </a:solidFill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8D1299-5710-4F40-B463-A19C2E74AC4A}"/>
              </a:ext>
            </a:extLst>
          </p:cNvPr>
          <p:cNvSpPr/>
          <p:nvPr/>
        </p:nvSpPr>
        <p:spPr>
          <a:xfrm>
            <a:off x="9525937" y="3509891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r>
              <a:rPr lang="en-US" sz="1600">
                <a:solidFill>
                  <a:srgbClr val="000000"/>
                </a:solidFill>
                <a:cs typeface="Arial"/>
                <a:sym typeface="Wingdings" panose="05000000000000000000" pitchFamily="2" charset="2"/>
              </a:rPr>
              <a:t></a:t>
            </a:r>
            <a:endParaRPr lang="en-US" sz="1600">
              <a:solidFill>
                <a:srgbClr val="000000"/>
              </a:solidFill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A05C55-4E32-45CE-92D7-041991B72EB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054030" y="1284486"/>
            <a:ext cx="1760541" cy="750648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r>
              <a:rPr lang="en-US" sz="2000" b="1">
                <a:solidFill>
                  <a:srgbClr val="000000"/>
                </a:solidFill>
                <a:cs typeface="Arial"/>
              </a:rPr>
              <a:t>Aligned classroom learning</a:t>
            </a:r>
            <a:endParaRPr lang="en-US" sz="2000">
              <a:solidFill>
                <a:srgbClr val="000000"/>
              </a:solidFill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2F7E95-E5FF-4126-B212-BC319E63D6DD}"/>
              </a:ext>
            </a:extLst>
          </p:cNvPr>
          <p:cNvSpPr/>
          <p:nvPr/>
        </p:nvSpPr>
        <p:spPr>
          <a:xfrm>
            <a:off x="9522070" y="4072113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r>
              <a:rPr lang="en-US" sz="1600">
                <a:solidFill>
                  <a:srgbClr val="000000"/>
                </a:solidFill>
                <a:cs typeface="Arial"/>
                <a:sym typeface="Wingdings" panose="05000000000000000000" pitchFamily="2" charset="2"/>
              </a:rPr>
              <a:t></a:t>
            </a:r>
            <a:endParaRPr lang="en-US" sz="1600">
              <a:solidFill>
                <a:srgbClr val="000000"/>
              </a:solidFill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4E382DD-6173-45D2-B0B1-F4675D15B85E}"/>
              </a:ext>
            </a:extLst>
          </p:cNvPr>
          <p:cNvSpPr/>
          <p:nvPr/>
        </p:nvSpPr>
        <p:spPr>
          <a:xfrm>
            <a:off x="9522070" y="4452305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r>
              <a:rPr lang="en-US" sz="1600">
                <a:solidFill>
                  <a:srgbClr val="000000"/>
                </a:solidFill>
                <a:cs typeface="Arial"/>
                <a:sym typeface="Wingdings" panose="05000000000000000000" pitchFamily="2" charset="2"/>
              </a:rPr>
              <a:t></a:t>
            </a:r>
            <a:endParaRPr lang="en-US" sz="1600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4966AAF-42F9-4EB6-9354-B789E7242DF8}"/>
              </a:ext>
            </a:extLst>
          </p:cNvPr>
          <p:cNvCxnSpPr>
            <a:cxnSpLocks/>
          </p:cNvCxnSpPr>
          <p:nvPr/>
        </p:nvCxnSpPr>
        <p:spPr>
          <a:xfrm>
            <a:off x="9420121" y="4116860"/>
            <a:ext cx="0" cy="314320"/>
          </a:xfrm>
          <a:prstGeom prst="line">
            <a:avLst/>
          </a:prstGeom>
          <a:ln w="762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EEF143-60BB-4E7B-A019-E8FBE9B3E17C}"/>
              </a:ext>
            </a:extLst>
          </p:cNvPr>
          <p:cNvCxnSpPr>
            <a:cxnSpLocks/>
          </p:cNvCxnSpPr>
          <p:nvPr/>
        </p:nvCxnSpPr>
        <p:spPr>
          <a:xfrm>
            <a:off x="9420121" y="4548660"/>
            <a:ext cx="0" cy="314320"/>
          </a:xfrm>
          <a:prstGeom prst="line">
            <a:avLst/>
          </a:prstGeom>
          <a:ln w="762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btfpIcon771101">
            <a:extLst>
              <a:ext uri="{FF2B5EF4-FFF2-40B4-BE49-F238E27FC236}">
                <a16:creationId xmlns:a16="http://schemas.microsoft.com/office/drawing/2014/main" id="{73E076AA-7B07-4247-9831-B8C17625C9C5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9177731" y="1257300"/>
            <a:ext cx="840910" cy="840908"/>
            <a:chOff x="5435650" y="-1210528"/>
            <a:chExt cx="1457150" cy="1081088"/>
          </a:xfrm>
        </p:grpSpPr>
        <p:sp>
          <p:nvSpPr>
            <p:cNvPr id="16" name="btfpIconCircle771101">
              <a:extLst>
                <a:ext uri="{FF2B5EF4-FFF2-40B4-BE49-F238E27FC236}">
                  <a16:creationId xmlns:a16="http://schemas.microsoft.com/office/drawing/2014/main" id="{B9FCA6DB-E898-4EF0-A1C6-B1B0789BCA3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35650" y="-1210528"/>
              <a:ext cx="1457145" cy="1081088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prstClr val="black"/>
                </a:solidFill>
              </a:endParaRPr>
            </a:p>
          </p:txBody>
        </p:sp>
        <p:pic>
          <p:nvPicPr>
            <p:cNvPr id="17" name="btfpIconLines771101">
              <a:extLst>
                <a:ext uri="{FF2B5EF4-FFF2-40B4-BE49-F238E27FC236}">
                  <a16:creationId xmlns:a16="http://schemas.microsoft.com/office/drawing/2014/main" id="{E3941AF3-564B-48B7-B395-5F6B8423D30C}"/>
                </a:ext>
              </a:extLst>
            </p:cNvPr>
            <p:cNvPicPr>
              <a:picLocks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435653" y="-1210528"/>
              <a:ext cx="1457147" cy="10810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051857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FB13E41-71DF-4A86-BC86-75A9A68957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FB13E41-71DF-4A86-BC86-75A9A6895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C0A763-C1D6-4C36-9C7E-4CE27DD76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WS </a:t>
            </a:r>
            <a:r>
              <a:rPr lang="en-US" dirty="0" err="1"/>
              <a:t>Educate’s</a:t>
            </a:r>
            <a:r>
              <a:rPr lang="en-US" dirty="0"/>
              <a:t> Cloud Computing Framework guides colleges in preparing students for entry-level roles across cloud related professional domains </a:t>
            </a:r>
          </a:p>
        </p:txBody>
      </p: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83E85D6A-B7CD-4387-9CA6-882CF3F09A72}"/>
              </a:ext>
            </a:extLst>
          </p:cNvPr>
          <p:cNvGraphicFramePr>
            <a:graphicFrameLocks noGrp="1"/>
          </p:cNvGraphicFramePr>
          <p:nvPr/>
        </p:nvGraphicFramePr>
        <p:xfrm>
          <a:off x="218536" y="1185333"/>
          <a:ext cx="11587380" cy="5212080"/>
        </p:xfrm>
        <a:graphic>
          <a:graphicData uri="http://schemas.openxmlformats.org/drawingml/2006/table">
            <a:tbl>
              <a:tblPr firstRow="1" bandRow="1"/>
              <a:tblGrid>
                <a:gridCol w="2317476">
                  <a:extLst>
                    <a:ext uri="{9D8B030D-6E8A-4147-A177-3AD203B41FA5}">
                      <a16:colId xmlns:a16="http://schemas.microsoft.com/office/drawing/2014/main" val="2462773058"/>
                    </a:ext>
                  </a:extLst>
                </a:gridCol>
                <a:gridCol w="2317476">
                  <a:extLst>
                    <a:ext uri="{9D8B030D-6E8A-4147-A177-3AD203B41FA5}">
                      <a16:colId xmlns:a16="http://schemas.microsoft.com/office/drawing/2014/main" val="3456679976"/>
                    </a:ext>
                  </a:extLst>
                </a:gridCol>
                <a:gridCol w="2317476">
                  <a:extLst>
                    <a:ext uri="{9D8B030D-6E8A-4147-A177-3AD203B41FA5}">
                      <a16:colId xmlns:a16="http://schemas.microsoft.com/office/drawing/2014/main" val="2233962990"/>
                    </a:ext>
                  </a:extLst>
                </a:gridCol>
                <a:gridCol w="2317476">
                  <a:extLst>
                    <a:ext uri="{9D8B030D-6E8A-4147-A177-3AD203B41FA5}">
                      <a16:colId xmlns:a16="http://schemas.microsoft.com/office/drawing/2014/main" val="1442624793"/>
                    </a:ext>
                  </a:extLst>
                </a:gridCol>
                <a:gridCol w="2317476">
                  <a:extLst>
                    <a:ext uri="{9D8B030D-6E8A-4147-A177-3AD203B41FA5}">
                      <a16:colId xmlns:a16="http://schemas.microsoft.com/office/drawing/2014/main" val="2304144698"/>
                    </a:ext>
                  </a:extLst>
                </a:gridCol>
              </a:tblGrid>
              <a:tr h="899182">
                <a:tc>
                  <a:txBody>
                    <a:bodyPr/>
                    <a:lstStyle/>
                    <a:p>
                      <a:r>
                        <a:rPr lang="en-US" b="1"/>
                        <a:t>Professional Domai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Archite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Software Develo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Data Analytics/AI and Machine 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Operations and securit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0964267"/>
                  </a:ext>
                </a:extLst>
              </a:tr>
              <a:tr h="3353843">
                <a:tc>
                  <a:txBody>
                    <a:bodyPr/>
                    <a:lstStyle/>
                    <a:p>
                      <a:r>
                        <a:rPr lang="en-US" b="1"/>
                        <a:t>Entry Level Rol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Cloud support associate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Technical support associat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Technical analys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Network technicia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Data center operation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IT support associate, cloud consulta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Application developer and web developer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Junior software engineer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Mobile app develope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Data Integration Specialist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Data Analyst intern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Business intelligence architec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Database administrato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Data Collection specialis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Information security Specialist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/>
                        <a:t>Data security administrat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3544421"/>
                  </a:ext>
                </a:extLst>
              </a:tr>
              <a:tr h="899182">
                <a:tc>
                  <a:txBody>
                    <a:bodyPr/>
                    <a:lstStyle/>
                    <a:p>
                      <a:r>
                        <a:rPr lang="en-US" b="1"/>
                        <a:t>Intermediate rol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b="1"/>
                        <a:t>Cloud support engin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b="1"/>
                        <a:t>Software development engin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b="1"/>
                        <a:t>Data analyst/data engin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b="1"/>
                        <a:t>DevOps Enginee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24189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32980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60EBE7-D299-4595-96A7-15346176A4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03" imgH="503" progId="TCLayout.ActiveDocument.1">
                  <p:embed/>
                </p:oleObj>
              </mc:Choice>
              <mc:Fallback>
                <p:oleObj name="think-cell Slide" r:id="rId7" imgW="503" imgH="5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60EBE7-D299-4595-96A7-15346176A4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06AFB12-5368-4470-A77D-789F80124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2D5EDD3-063D-4F88-948F-FE2390248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gh-Quality On the Job Experience for the Cloud Associate’s degree looks like…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EC1E05-9C62-4EAB-A21F-37218BB410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7917" y="1125121"/>
            <a:ext cx="7905820" cy="4991100"/>
          </a:xfrm>
        </p:spPr>
        <p:txBody>
          <a:bodyPr/>
          <a:lstStyle/>
          <a:p>
            <a:pPr marL="0" indent="0">
              <a:buNone/>
            </a:pPr>
            <a:r>
              <a:rPr lang="en-US" sz="2000" b="1"/>
              <a:t>Paid internships for Career Launch program participants during school </a:t>
            </a:r>
          </a:p>
          <a:p>
            <a:pPr lvl="1"/>
            <a:r>
              <a:rPr lang="en-US" sz="2000"/>
              <a:t>Employer partners would work with CTCs to identify pre-requisite skills for internships</a:t>
            </a:r>
          </a:p>
          <a:p>
            <a:pPr lvl="1"/>
            <a:r>
              <a:rPr lang="en-US" sz="2000"/>
              <a:t>Employers commit to interviewing internship candidates with an intent to hire </a:t>
            </a:r>
          </a:p>
          <a:p>
            <a:pPr lvl="1"/>
            <a:r>
              <a:rPr lang="en-US" sz="2000"/>
              <a:t>Remote, part-time, and non-summer internships could be considered </a:t>
            </a:r>
          </a:p>
          <a:p>
            <a:pPr lvl="1"/>
            <a:endParaRPr lang="en-US" sz="2000"/>
          </a:p>
          <a:p>
            <a:pPr marL="0" indent="0">
              <a:buNone/>
            </a:pPr>
            <a:r>
              <a:rPr lang="en-US" sz="2000" b="1"/>
              <a:t>Pathways to jobs after graduation </a:t>
            </a:r>
          </a:p>
          <a:p>
            <a:pPr lvl="1"/>
            <a:r>
              <a:rPr lang="en-US" sz="2000"/>
              <a:t>Employer partners participate in CFA  job board &amp; interview accelerator  </a:t>
            </a:r>
          </a:p>
          <a:p>
            <a:pPr lvl="1"/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  <p:sp>
        <p:nvSpPr>
          <p:cNvPr id="9" name="btfpBulletedList877426">
            <a:extLst>
              <a:ext uri="{FF2B5EF4-FFF2-40B4-BE49-F238E27FC236}">
                <a16:creationId xmlns:a16="http://schemas.microsoft.com/office/drawing/2014/main" id="{2E426CB7-019C-4DF7-BAA4-58486B076BC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333685" y="2583724"/>
            <a:ext cx="2323163" cy="2781137"/>
          </a:xfrm>
          <a:prstGeom prst="rect">
            <a:avLst/>
          </a:prstGeom>
          <a:noFill/>
          <a:effectLst/>
        </p:spPr>
        <p:txBody>
          <a:bodyPr vert="horz" wrap="square" lIns="36000" tIns="36000" rIns="36000" bIns="36000" rtlCol="0">
            <a:spAutoFit/>
          </a:bodyPr>
          <a:lstStyle/>
          <a:p>
            <a:pPr marL="177800" indent="-177800" defTabSz="711200">
              <a:spcBef>
                <a:spcPts val="1200"/>
              </a:spcBef>
              <a:spcAft>
                <a:spcPct val="0"/>
              </a:spcAft>
              <a:buFontTx/>
              <a:buChar char="•"/>
              <a:defRPr>
                <a:effectLst/>
              </a:defRPr>
            </a:pPr>
            <a:r>
              <a:rPr lang="en-US" sz="1400">
                <a:solidFill>
                  <a:srgbClr val="000000"/>
                </a:solidFill>
                <a:cs typeface="Arial"/>
              </a:rPr>
              <a:t>At worksite</a:t>
            </a:r>
          </a:p>
          <a:p>
            <a:pPr marL="177800" indent="-177800" defTabSz="711200">
              <a:spcBef>
                <a:spcPts val="1200"/>
              </a:spcBef>
              <a:spcAft>
                <a:spcPct val="0"/>
              </a:spcAft>
              <a:buFontTx/>
              <a:buChar char="•"/>
              <a:defRPr>
                <a:effectLst/>
              </a:defRPr>
            </a:pPr>
            <a:r>
              <a:rPr lang="en-US" sz="1400">
                <a:solidFill>
                  <a:srgbClr val="000000"/>
                </a:solidFill>
                <a:cs typeface="Arial"/>
              </a:rPr>
              <a:t>Paid and academic credit</a:t>
            </a:r>
          </a:p>
          <a:p>
            <a:pPr marL="177800" indent="-177800" defTabSz="711200">
              <a:spcBef>
                <a:spcPts val="1200"/>
              </a:spcBef>
              <a:spcAft>
                <a:spcPct val="0"/>
              </a:spcAft>
              <a:buFontTx/>
              <a:buChar char="•"/>
              <a:defRPr>
                <a:effectLst/>
              </a:defRPr>
            </a:pPr>
            <a:r>
              <a:rPr lang="en-US" sz="1400">
                <a:solidFill>
                  <a:srgbClr val="000000"/>
                </a:solidFill>
                <a:cs typeface="Arial"/>
              </a:rPr>
              <a:t>Occupation-aligned</a:t>
            </a:r>
          </a:p>
          <a:p>
            <a:pPr marL="177800" indent="-177800" defTabSz="711200">
              <a:spcBef>
                <a:spcPts val="1200"/>
              </a:spcBef>
              <a:spcAft>
                <a:spcPct val="0"/>
              </a:spcAft>
              <a:buFontTx/>
              <a:buChar char="•"/>
              <a:defRPr>
                <a:effectLst/>
              </a:defRPr>
            </a:pPr>
            <a:r>
              <a:rPr lang="en-US" sz="1400">
                <a:solidFill>
                  <a:srgbClr val="000000"/>
                </a:solidFill>
                <a:cs typeface="Arial"/>
              </a:rPr>
              <a:t>Employer supervisor at ratio typical of occupation</a:t>
            </a:r>
          </a:p>
          <a:p>
            <a:pPr marL="177800" indent="-177800" defTabSz="711200">
              <a:spcBef>
                <a:spcPts val="1200"/>
              </a:spcBef>
              <a:spcAft>
                <a:spcPct val="0"/>
              </a:spcAft>
              <a:buFontTx/>
              <a:buChar char="•"/>
              <a:defRPr>
                <a:effectLst/>
              </a:defRPr>
            </a:pPr>
            <a:r>
              <a:rPr lang="en-US" sz="1400">
                <a:solidFill>
                  <a:srgbClr val="000000"/>
                </a:solidFill>
                <a:cs typeface="Arial"/>
              </a:rPr>
              <a:t>Defined competencies and skills gained</a:t>
            </a:r>
          </a:p>
          <a:p>
            <a:pPr marL="177800" indent="-177800" defTabSz="711200">
              <a:spcBef>
                <a:spcPts val="1200"/>
              </a:spcBef>
              <a:spcAft>
                <a:spcPct val="0"/>
              </a:spcAft>
              <a:buFontTx/>
              <a:buChar char="•"/>
              <a:defRPr>
                <a:effectLst/>
              </a:defRPr>
            </a:pPr>
            <a:r>
              <a:rPr lang="en-US" sz="1400">
                <a:solidFill>
                  <a:srgbClr val="000000"/>
                </a:solidFill>
                <a:cs typeface="Arial"/>
              </a:rPr>
              <a:t>Full compliance with existing legal regulation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BC2E4B5-E948-4707-B618-2758AE95FCC3}"/>
              </a:ext>
            </a:extLst>
          </p:cNvPr>
          <p:cNvCxnSpPr/>
          <p:nvPr/>
        </p:nvCxnSpPr>
        <p:spPr>
          <a:xfrm>
            <a:off x="9226622" y="2615458"/>
            <a:ext cx="0" cy="320040"/>
          </a:xfrm>
          <a:prstGeom prst="line">
            <a:avLst/>
          </a:prstGeom>
          <a:ln w="762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789A7B8-9FFC-42DF-B2B0-D4C0046DED45}"/>
              </a:ext>
            </a:extLst>
          </p:cNvPr>
          <p:cNvCxnSpPr/>
          <p:nvPr/>
        </p:nvCxnSpPr>
        <p:spPr>
          <a:xfrm>
            <a:off x="9226622" y="3769519"/>
            <a:ext cx="0" cy="457200"/>
          </a:xfrm>
          <a:prstGeom prst="line">
            <a:avLst/>
          </a:prstGeom>
          <a:ln w="762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94E4B2A7-2293-427A-A61B-9EA6A4E7365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855202" y="1348223"/>
            <a:ext cx="2001836" cy="750648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r>
              <a:rPr lang="en-US" sz="2000" b="1">
                <a:solidFill>
                  <a:srgbClr val="000000"/>
                </a:solidFill>
                <a:cs typeface="Arial"/>
              </a:rPr>
              <a:t>Meaningful, high quality </a:t>
            </a:r>
            <a:br>
              <a:rPr lang="en-US" sz="2000" b="1">
                <a:solidFill>
                  <a:srgbClr val="000000"/>
                </a:solidFill>
                <a:cs typeface="Arial"/>
              </a:rPr>
            </a:br>
            <a:r>
              <a:rPr lang="en-US" sz="2000" b="1">
                <a:solidFill>
                  <a:srgbClr val="000000"/>
                </a:solidFill>
                <a:cs typeface="Arial"/>
              </a:rPr>
              <a:t>on-the-job experience</a:t>
            </a:r>
            <a:endParaRPr lang="en-US" sz="2000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9CB2F31-D107-44D3-BEFF-6FE3252134D8}"/>
              </a:ext>
            </a:extLst>
          </p:cNvPr>
          <p:cNvCxnSpPr/>
          <p:nvPr/>
        </p:nvCxnSpPr>
        <p:spPr>
          <a:xfrm>
            <a:off x="9226622" y="3000145"/>
            <a:ext cx="0" cy="320040"/>
          </a:xfrm>
          <a:prstGeom prst="line">
            <a:avLst/>
          </a:prstGeom>
          <a:ln w="762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14EED07-629A-49A8-A399-D39281C48B17}"/>
              </a:ext>
            </a:extLst>
          </p:cNvPr>
          <p:cNvCxnSpPr/>
          <p:nvPr/>
        </p:nvCxnSpPr>
        <p:spPr>
          <a:xfrm>
            <a:off x="9226622" y="3384832"/>
            <a:ext cx="0" cy="320040"/>
          </a:xfrm>
          <a:prstGeom prst="line">
            <a:avLst/>
          </a:prstGeom>
          <a:ln w="762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A5AF094-2730-47A6-8961-E868785B6FB4}"/>
              </a:ext>
            </a:extLst>
          </p:cNvPr>
          <p:cNvCxnSpPr/>
          <p:nvPr/>
        </p:nvCxnSpPr>
        <p:spPr>
          <a:xfrm>
            <a:off x="9226622" y="4291366"/>
            <a:ext cx="0" cy="457200"/>
          </a:xfrm>
          <a:prstGeom prst="line">
            <a:avLst/>
          </a:prstGeom>
          <a:ln w="762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0175FBF-9057-4D79-895E-2A9E33CF6BD6}"/>
              </a:ext>
            </a:extLst>
          </p:cNvPr>
          <p:cNvCxnSpPr/>
          <p:nvPr/>
        </p:nvCxnSpPr>
        <p:spPr>
          <a:xfrm>
            <a:off x="9226622" y="4813212"/>
            <a:ext cx="0" cy="457200"/>
          </a:xfrm>
          <a:prstGeom prst="line">
            <a:avLst/>
          </a:prstGeom>
          <a:ln w="7620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btfpIcon800841">
            <a:extLst>
              <a:ext uri="{FF2B5EF4-FFF2-40B4-BE49-F238E27FC236}">
                <a16:creationId xmlns:a16="http://schemas.microsoft.com/office/drawing/2014/main" id="{DC218453-4F62-4EA2-ACF5-7C77D5B54CD8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8974569" y="1239421"/>
            <a:ext cx="842040" cy="840908"/>
            <a:chOff x="5814383" y="-660612"/>
            <a:chExt cx="1082542" cy="1081088"/>
          </a:xfrm>
        </p:grpSpPr>
        <p:sp>
          <p:nvSpPr>
            <p:cNvPr id="18" name="btfpIconCircle800841">
              <a:extLst>
                <a:ext uri="{FF2B5EF4-FFF2-40B4-BE49-F238E27FC236}">
                  <a16:creationId xmlns:a16="http://schemas.microsoft.com/office/drawing/2014/main" id="{C5ABE5B0-42C4-4757-8724-9D096F953F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4383" y="-660612"/>
              <a:ext cx="1081088" cy="1081088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err="1">
                <a:solidFill>
                  <a:prstClr val="black"/>
                </a:solidFill>
              </a:endParaRPr>
            </a:p>
          </p:txBody>
        </p:sp>
        <p:pic>
          <p:nvPicPr>
            <p:cNvPr id="19" name="btfpIconLines800841">
              <a:extLst>
                <a:ext uri="{FF2B5EF4-FFF2-40B4-BE49-F238E27FC236}">
                  <a16:creationId xmlns:a16="http://schemas.microsoft.com/office/drawing/2014/main" id="{7E5D2D7D-45E9-4DE6-A4E5-B1B73C7880B0}"/>
                </a:ext>
              </a:extLst>
            </p:cNvPr>
            <p:cNvPicPr>
              <a:picLocks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815837" y="-660612"/>
              <a:ext cx="1081088" cy="10810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08580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4864A3-FBE3-4067-AA48-C3E87C5A85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4864A3-FBE3-4067-AA48-C3E87C5A8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E71E60A-AEF9-4751-B4FE-74D170AF2A6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2829868" cy="88092"/>
          </a:xfrm>
          <a:prstGeom prst="rect">
            <a:avLst/>
          </a:prstGeom>
          <a:noFill/>
          <a:effectLst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r>
              <a:rPr lang="en-US" sz="100">
                <a:solidFill>
                  <a:srgbClr val="FFFFFF">
                    <a:alpha val="0"/>
                  </a:srgbClr>
                </a:solidFill>
                <a:cs typeface="Arial"/>
              </a:rPr>
              <a:t>overall_1_131696877956906059 columns_4_131696877956504982 4_1_131723700746069344 5_0_131696877946819160 6_0_131696877947054791 7_0_131696877947340565 8_0_131696877947696516 11_0_131696877947826862 14_0_131696877947917101 17_0_131696877948052446 22_0_131696877948438483 97_0_131698588605729586 88_0_131700569165595600 91_0_131700567334764757 100_0_131700567334794854 85_0_131700567716065222 112_0_131700569165625998 109_0_131700569165646070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4962" y="0"/>
            <a:ext cx="11522075" cy="876300"/>
          </a:xfrm>
          <a:effectLst/>
        </p:spPr>
        <p:txBody>
          <a:bodyPr wrap="square"/>
          <a:lstStyle/>
          <a:p>
            <a:pPr indent="-177800"/>
            <a:r>
              <a:rPr lang="en-US" dirty="0"/>
              <a:t>Cloud Computing Roles and Salaries</a:t>
            </a:r>
            <a:endParaRPr lang="en-US" dirty="0">
              <a:effectLst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70515" y="399914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3488218" y="3617092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470515" y="530609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3493936" y="518242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BainBulletsConfiguration" hidden="1">
            <a:extLst>
              <a:ext uri="{FF2B5EF4-FFF2-40B4-BE49-F238E27FC236}">
                <a16:creationId xmlns:a16="http://schemas.microsoft.com/office/drawing/2014/main" id="{30106A60-ECA7-4FBE-8613-192912440DED}"/>
              </a:ext>
            </a:extLst>
          </p:cNvPr>
          <p:cNvSpPr txBox="1"/>
          <p:nvPr/>
        </p:nvSpPr>
        <p:spPr bwMode="gray">
          <a:xfrm>
            <a:off x="12700" y="12700"/>
            <a:ext cx="27147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  <a:defRPr/>
            </a:pPr>
            <a:r>
              <a:rPr lang="en-US" sz="100">
                <a:solidFill>
                  <a:srgbClr val="FFFFFF"/>
                </a:solidFill>
                <a:cs typeface="Arial"/>
              </a:rPr>
              <a:t>94_84 112_84 118_84 123_84 128_84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C206740-FA4A-458B-B50E-E4573931B9C2}"/>
              </a:ext>
            </a:extLst>
          </p:cNvPr>
          <p:cNvSpPr/>
          <p:nvPr/>
        </p:nvSpPr>
        <p:spPr>
          <a:xfrm>
            <a:off x="470514" y="590365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F28F677-3EC7-49D8-B651-D4BF058D8296}"/>
              </a:ext>
            </a:extLst>
          </p:cNvPr>
          <p:cNvSpPr/>
          <p:nvPr/>
        </p:nvSpPr>
        <p:spPr>
          <a:xfrm>
            <a:off x="470515" y="4384270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33107F2-8E1F-47F8-93F9-C6E4C3D1D06F}"/>
              </a:ext>
            </a:extLst>
          </p:cNvPr>
          <p:cNvSpPr/>
          <p:nvPr/>
        </p:nvSpPr>
        <p:spPr>
          <a:xfrm>
            <a:off x="3493936" y="5562621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graphicFrame>
        <p:nvGraphicFramePr>
          <p:cNvPr id="4" name="Table 8">
            <a:extLst>
              <a:ext uri="{FF2B5EF4-FFF2-40B4-BE49-F238E27FC236}">
                <a16:creationId xmlns:a16="http://schemas.microsoft.com/office/drawing/2014/main" id="{C58B2C0A-47A1-4D34-B552-76A55E2A54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7381694"/>
              </p:ext>
            </p:extLst>
          </p:nvPr>
        </p:nvGraphicFramePr>
        <p:xfrm>
          <a:off x="1697037" y="1594899"/>
          <a:ext cx="8128000" cy="3139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554053940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153727082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loud Computing Ro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alaries (median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63653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Computer Network Support Speciali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$31.47 hourly, $65,450 annual</a:t>
                      </a:r>
                    </a:p>
                  </a:txBody>
                  <a:tcPr marL="22860" marR="22860" marT="22860" marB="22860"/>
                </a:tc>
                <a:extLst>
                  <a:ext uri="{0D108BD9-81ED-4DB2-BD59-A6C34878D82A}">
                    <a16:rowId xmlns:a16="http://schemas.microsoft.com/office/drawing/2014/main" val="23602192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Network and Computer Systems Administrators (Data Center Technicia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40.77 hourly, $84,810 annual</a:t>
                      </a:r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510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Information Security Engine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$44.65 hourly, $92,870 annual</a:t>
                      </a:r>
                      <a:endParaRPr lang="en-US" b="0" i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2860" marR="22860" marT="22860" marB="22860"/>
                </a:tc>
                <a:extLst>
                  <a:ext uri="{0D108BD9-81ED-4DB2-BD59-A6C34878D82A}">
                    <a16:rowId xmlns:a16="http://schemas.microsoft.com/office/drawing/2014/main" val="11657375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Web Develo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$37.12 hourly, $77,200 annual</a:t>
                      </a:r>
                    </a:p>
                  </a:txBody>
                  <a:tcPr marL="22860" marR="22860" marT="22860" marB="22860"/>
                </a:tc>
                <a:extLst>
                  <a:ext uri="{0D108BD9-81ED-4DB2-BD59-A6C34878D82A}">
                    <a16:rowId xmlns:a16="http://schemas.microsoft.com/office/drawing/2014/main" val="33347888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Software Develo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52.95 hourly, $110,140 annual</a:t>
                      </a:r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15182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Business Intelligence Analy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47.23 hourly, $98,230 annual</a:t>
                      </a:r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80955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83523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36"/>
          <p:cNvSpPr txBox="1"/>
          <p:nvPr/>
        </p:nvSpPr>
        <p:spPr>
          <a:xfrm>
            <a:off x="923730" y="2762250"/>
            <a:ext cx="10239570" cy="102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4400"/>
            </a:pPr>
            <a:r>
              <a:rPr lang="en-US" sz="2800" b="1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Mission: </a:t>
            </a:r>
            <a:r>
              <a:rPr lang="en-US" sz="280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Connect young people to great  careers in Information Technology while advancing their education  </a:t>
            </a:r>
            <a:endParaRPr lang="en-US" sz="1400">
              <a:solidFill>
                <a:schemeClr val="dk1"/>
              </a:solidFill>
              <a:latin typeface="Arial"/>
              <a:cs typeface="Arial"/>
            </a:endParaRPr>
          </a:p>
        </p:txBody>
      </p:sp>
      <p:sp>
        <p:nvSpPr>
          <p:cNvPr id="118" name="Google Shape;118;p36"/>
          <p:cNvSpPr txBox="1"/>
          <p:nvPr/>
        </p:nvSpPr>
        <p:spPr>
          <a:xfrm>
            <a:off x="495300" y="4133850"/>
            <a:ext cx="11696700" cy="198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</a:pPr>
            <a:r>
              <a:rPr lang="en-US"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Vision: </a:t>
            </a: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iversity, equity, and inclusion are cornerstones for Computing for All.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e are committed to a set of goals to increase workforce representation and to create a more inclusive culture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</a:pPr>
            <a:r>
              <a:rPr lang="en-US"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9" name="Google Shape;119;p36"/>
          <p:cNvPicPr preferRelativeResize="0"/>
          <p:nvPr/>
        </p:nvPicPr>
        <p:blipFill rotWithShape="1">
          <a:blip r:embed="rId3">
            <a:alphaModFix/>
          </a:blip>
          <a:srcRect t="31974" b="31193"/>
          <a:stretch/>
        </p:blipFill>
        <p:spPr>
          <a:xfrm>
            <a:off x="3788758" y="347083"/>
            <a:ext cx="5109783" cy="18818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854521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5F3AF4-BCD7-4F60-A501-6AE901EFE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dership</a:t>
            </a:r>
          </a:p>
        </p:txBody>
      </p:sp>
      <p:pic>
        <p:nvPicPr>
          <p:cNvPr id="5" name="Google Shape;125;p4">
            <a:extLst>
              <a:ext uri="{FF2B5EF4-FFF2-40B4-BE49-F238E27FC236}">
                <a16:creationId xmlns:a16="http://schemas.microsoft.com/office/drawing/2014/main" id="{0E360343-33AA-4E23-9E0A-48872F7F6653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74298" y="2575636"/>
            <a:ext cx="1270764" cy="105789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126;p4">
            <a:extLst>
              <a:ext uri="{FF2B5EF4-FFF2-40B4-BE49-F238E27FC236}">
                <a16:creationId xmlns:a16="http://schemas.microsoft.com/office/drawing/2014/main" id="{EF015CC5-7B88-4F16-990B-DE4F1EA8196D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4298" y="5162549"/>
            <a:ext cx="1270764" cy="928171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27;p4">
            <a:extLst>
              <a:ext uri="{FF2B5EF4-FFF2-40B4-BE49-F238E27FC236}">
                <a16:creationId xmlns:a16="http://schemas.microsoft.com/office/drawing/2014/main" id="{8453CFB0-C250-4CBF-AB0E-30C012D5C950}"/>
              </a:ext>
            </a:extLst>
          </p:cNvPr>
          <p:cNvSpPr txBox="1"/>
          <p:nvPr/>
        </p:nvSpPr>
        <p:spPr>
          <a:xfrm>
            <a:off x="1709261" y="2827585"/>
            <a:ext cx="2775933" cy="5847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Ritu Bahl</a:t>
            </a:r>
            <a:endParaRPr sz="1800" b="0" i="0" u="none" strike="noStrike" cap="none">
              <a:solidFill>
                <a:srgbClr val="173D6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1" u="none" strike="noStrike" cap="none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Founder, Executive Director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128;p4">
            <a:extLst>
              <a:ext uri="{FF2B5EF4-FFF2-40B4-BE49-F238E27FC236}">
                <a16:creationId xmlns:a16="http://schemas.microsoft.com/office/drawing/2014/main" id="{5E133DE1-3A52-4193-BB6B-0BC4F20039FB}"/>
              </a:ext>
            </a:extLst>
          </p:cNvPr>
          <p:cNvSpPr txBox="1"/>
          <p:nvPr/>
        </p:nvSpPr>
        <p:spPr>
          <a:xfrm>
            <a:off x="1415481" y="4122311"/>
            <a:ext cx="3069713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Alka Manchanda</a:t>
            </a:r>
            <a:endParaRPr sz="1800" b="0" i="0" u="none" strike="noStrike" cap="none">
              <a:solidFill>
                <a:srgbClr val="173D6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1" u="none" strike="noStrike" cap="none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Director of Program Development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Google Shape;129;p4">
            <a:extLst>
              <a:ext uri="{FF2B5EF4-FFF2-40B4-BE49-F238E27FC236}">
                <a16:creationId xmlns:a16="http://schemas.microsoft.com/office/drawing/2014/main" id="{A438EF23-E053-42B3-B9B8-38C868CE60A9}"/>
              </a:ext>
            </a:extLst>
          </p:cNvPr>
          <p:cNvSpPr txBox="1"/>
          <p:nvPr/>
        </p:nvSpPr>
        <p:spPr>
          <a:xfrm>
            <a:off x="1415481" y="5286111"/>
            <a:ext cx="3069714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Mandira Virmani</a:t>
            </a:r>
            <a:endParaRPr sz="1800" b="0" i="0" u="none" strike="noStrike" cap="none">
              <a:solidFill>
                <a:srgbClr val="173D6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1" u="none" strike="noStrike" cap="none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Director of Program Development</a:t>
            </a:r>
            <a:endParaRPr sz="14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130;p4">
            <a:extLst>
              <a:ext uri="{FF2B5EF4-FFF2-40B4-BE49-F238E27FC236}">
                <a16:creationId xmlns:a16="http://schemas.microsoft.com/office/drawing/2014/main" id="{245935D3-B172-4DF5-83BE-C6D3A42DF28B}"/>
              </a:ext>
            </a:extLst>
          </p:cNvPr>
          <p:cNvSpPr/>
          <p:nvPr/>
        </p:nvSpPr>
        <p:spPr>
          <a:xfrm>
            <a:off x="6069834" y="2564904"/>
            <a:ext cx="4850702" cy="1169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Ritu Bahl has held senior technical leadership positions in multi-national hardware and software companies including Harris Semiconductors, Digital Equipment Corporation (now Hewlett-Packard), Microsoft Corporation, and Amazon Inc.</a:t>
            </a: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131;p4">
            <a:extLst>
              <a:ext uri="{FF2B5EF4-FFF2-40B4-BE49-F238E27FC236}">
                <a16:creationId xmlns:a16="http://schemas.microsoft.com/office/drawing/2014/main" id="{11C5635C-BB67-43DC-AB85-0E265C970670}"/>
              </a:ext>
            </a:extLst>
          </p:cNvPr>
          <p:cNvSpPr/>
          <p:nvPr/>
        </p:nvSpPr>
        <p:spPr>
          <a:xfrm>
            <a:off x="6069834" y="3789040"/>
            <a:ext cx="4850702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Alka Manchanda draws on extensive experience as an engineer, manager, and top-level director at Cisco Systems. This informs her expert guidance of CFA programs.</a:t>
            </a: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32;p4">
            <a:extLst>
              <a:ext uri="{FF2B5EF4-FFF2-40B4-BE49-F238E27FC236}">
                <a16:creationId xmlns:a16="http://schemas.microsoft.com/office/drawing/2014/main" id="{29B917CF-5CD7-4A46-A06F-4731F3350822}"/>
              </a:ext>
            </a:extLst>
          </p:cNvPr>
          <p:cNvSpPr/>
          <p:nvPr/>
        </p:nvSpPr>
        <p:spPr>
          <a:xfrm>
            <a:off x="6069834" y="5085184"/>
            <a:ext cx="5138734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0" i="0" u="none" strike="noStrike" cap="none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Mandira Virmani’s previous work as a Group Program Manager at Microsoft gives her insight into the kinds of skills we need to equip our students with to get hired.</a:t>
            </a: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3;p4">
            <a:extLst>
              <a:ext uri="{FF2B5EF4-FFF2-40B4-BE49-F238E27FC236}">
                <a16:creationId xmlns:a16="http://schemas.microsoft.com/office/drawing/2014/main" id="{60674E75-DF7E-43E4-9624-BE4E37A8C585}"/>
              </a:ext>
            </a:extLst>
          </p:cNvPr>
          <p:cNvSpPr txBox="1"/>
          <p:nvPr/>
        </p:nvSpPr>
        <p:spPr>
          <a:xfrm>
            <a:off x="351693" y="1508450"/>
            <a:ext cx="11570676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Each member of our leadership team draws on </a:t>
            </a:r>
            <a:r>
              <a:rPr lang="en-US" sz="1600" b="1" i="0" u="none" strike="noStrike" cap="none" dirty="0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over 20 years of experience</a:t>
            </a:r>
            <a:r>
              <a:rPr lang="en-US" sz="1600" b="1" i="0" u="none" strike="noStrike" cap="none" dirty="0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600" b="0" i="0" u="none" strike="noStrike" cap="none" dirty="0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in the information technology industry. </a:t>
            </a:r>
            <a:br>
              <a:rPr lang="en-US" sz="1600" b="0" i="0" u="none" strike="noStrike" cap="none" dirty="0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600" b="0" i="0" u="none" strike="noStrike" cap="none" dirty="0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In addition to our leadership, we also have </a:t>
            </a:r>
            <a:r>
              <a:rPr lang="en-US" sz="1600" b="0" i="0" u="none" strike="noStrike" cap="none" dirty="0">
                <a:solidFill>
                  <a:srgbClr val="BC2421"/>
                </a:solidFill>
                <a:latin typeface="Calibri"/>
                <a:ea typeface="Calibri"/>
                <a:cs typeface="Calibri"/>
                <a:sym typeface="Calibri"/>
              </a:rPr>
              <a:t>17 additional employees </a:t>
            </a:r>
            <a:r>
              <a:rPr lang="en-US" sz="1600" b="0" i="0" u="none" strike="noStrike" cap="none" dirty="0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as of March 2020 </a:t>
            </a:r>
            <a:br>
              <a:rPr lang="en-US" sz="1600" b="0" i="0" u="none" strike="noStrike" cap="none" dirty="0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600" b="0" i="0" u="none" strike="noStrike" cap="none" dirty="0">
                <a:solidFill>
                  <a:srgbClr val="173D61"/>
                </a:solidFill>
                <a:latin typeface="Calibri"/>
                <a:ea typeface="Calibri"/>
                <a:cs typeface="Calibri"/>
                <a:sym typeface="Calibri"/>
              </a:rPr>
              <a:t>who teach, develop curriculum, and keep Computing For All running smoothly</a:t>
            </a:r>
            <a:r>
              <a:rPr lang="en-US" sz="1600" b="0" i="0" u="none" strike="noStrike" cap="none" dirty="0">
                <a:solidFill>
                  <a:srgbClr val="173D6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" name="Google Shape;134;p4" descr="Team_photos-01.jpg">
            <a:extLst>
              <a:ext uri="{FF2B5EF4-FFF2-40B4-BE49-F238E27FC236}">
                <a16:creationId xmlns:a16="http://schemas.microsoft.com/office/drawing/2014/main" id="{D1A2C13F-54E1-4011-B9AA-E9448F3B2E01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t="13331" b="10570"/>
          <a:stretch/>
        </p:blipFill>
        <p:spPr>
          <a:xfrm>
            <a:off x="4574298" y="3831734"/>
            <a:ext cx="1270764" cy="10607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65606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4864A3-FBE3-4067-AA48-C3E87C5A85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4864A3-FBE3-4067-AA48-C3E87C5A8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E71E60A-AEF9-4751-B4FE-74D170AF2A6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2829868" cy="88092"/>
          </a:xfrm>
          <a:prstGeom prst="rect">
            <a:avLst/>
          </a:prstGeom>
          <a:noFill/>
          <a:effectLst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r>
              <a:rPr lang="en-US" sz="100">
                <a:solidFill>
                  <a:srgbClr val="FFFFFF">
                    <a:alpha val="0"/>
                  </a:srgbClr>
                </a:solidFill>
                <a:cs typeface="Arial"/>
              </a:rPr>
              <a:t>overall_1_131696877956906059 columns_4_131696877956504982 4_1_131723700746069344 5_0_131696877946819160 6_0_131696877947054791 7_0_131696877947340565 8_0_131696877947696516 11_0_131696877947826862 14_0_131696877947917101 17_0_131696877948052446 22_0_131696877948438483 97_0_131698588605729586 88_0_131700569165595600 91_0_131700567334764757 100_0_131700567334794854 85_0_131700567716065222 112_0_131700569165625998 109_0_131700569165646070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4962" y="0"/>
            <a:ext cx="11522075" cy="876300"/>
          </a:xfrm>
          <a:effectLst/>
        </p:spPr>
        <p:txBody>
          <a:bodyPr wrap="square"/>
          <a:lstStyle/>
          <a:p>
            <a:pPr indent="-177800"/>
            <a:r>
              <a:rPr lang="en-US" dirty="0"/>
              <a:t>Washington’s Tech Ecosystem</a:t>
            </a:r>
            <a:endParaRPr lang="en-US" dirty="0">
              <a:effectLst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70515" y="399914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3488218" y="3617092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470515" y="530609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3493936" y="518242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BainBulletsConfiguration" hidden="1">
            <a:extLst>
              <a:ext uri="{FF2B5EF4-FFF2-40B4-BE49-F238E27FC236}">
                <a16:creationId xmlns:a16="http://schemas.microsoft.com/office/drawing/2014/main" id="{30106A60-ECA7-4FBE-8613-192912440DED}"/>
              </a:ext>
            </a:extLst>
          </p:cNvPr>
          <p:cNvSpPr txBox="1"/>
          <p:nvPr/>
        </p:nvSpPr>
        <p:spPr bwMode="gray">
          <a:xfrm>
            <a:off x="12700" y="12700"/>
            <a:ext cx="27147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  <a:defRPr/>
            </a:pPr>
            <a:r>
              <a:rPr lang="en-US" sz="100">
                <a:solidFill>
                  <a:srgbClr val="FFFFFF"/>
                </a:solidFill>
                <a:cs typeface="Arial"/>
              </a:rPr>
              <a:t>94_84 112_84 118_84 123_84 128_84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C206740-FA4A-458B-B50E-E4573931B9C2}"/>
              </a:ext>
            </a:extLst>
          </p:cNvPr>
          <p:cNvSpPr/>
          <p:nvPr/>
        </p:nvSpPr>
        <p:spPr>
          <a:xfrm>
            <a:off x="470514" y="590365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F28F677-3EC7-49D8-B651-D4BF058D8296}"/>
              </a:ext>
            </a:extLst>
          </p:cNvPr>
          <p:cNvSpPr/>
          <p:nvPr/>
        </p:nvSpPr>
        <p:spPr>
          <a:xfrm>
            <a:off x="470515" y="4384270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33107F2-8E1F-47F8-93F9-C6E4C3D1D06F}"/>
              </a:ext>
            </a:extLst>
          </p:cNvPr>
          <p:cNvSpPr/>
          <p:nvPr/>
        </p:nvSpPr>
        <p:spPr>
          <a:xfrm>
            <a:off x="3493936" y="5562621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7916BD-2389-4728-99EA-2A47CA6AB444}"/>
              </a:ext>
            </a:extLst>
          </p:cNvPr>
          <p:cNvSpPr txBox="1"/>
          <p:nvPr/>
        </p:nvSpPr>
        <p:spPr>
          <a:xfrm>
            <a:off x="470514" y="1366887"/>
            <a:ext cx="10191201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 demand for IT-related roles exist within high tech as well as in insurance, financial services, utilities, healthcare, clean energy and other sectors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WA employers face a shortage of tech talent and a lack of diversity in tech roles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WA academic institutions graduate 5000 students per year in CS degrees – demand is 10x of that 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t is imperative that we figure out how to train local diverse job seekers for in-demand IT Roles 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n 2020, the IT sector directly employed 278,900 workers in WA State and nearly a quarter (24%) of all wages earned statewide were for tech workers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Washington’s Economic and Revenue Forecast Council predicts the IT sector will continue to grow in WA by at least another 17,000 jobs over the next five years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icrosoft initiative to build equitable pathways to Cybersecurity jobs by skilling 250,000 people in cybersecurity by 2025 to cut the US talent gap by 50%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914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A6785-16AD-4556-BFE9-C547E53B16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dirty="0"/>
              <a:t>Demo of CFA Job Portal</a:t>
            </a:r>
          </a:p>
        </p:txBody>
      </p:sp>
    </p:spTree>
    <p:extLst>
      <p:ext uri="{BB962C8B-B14F-4D97-AF65-F5344CB8AC3E}">
        <p14:creationId xmlns:p14="http://schemas.microsoft.com/office/powerpoint/2010/main" val="1471217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4864A3-FBE3-4067-AA48-C3E87C5A85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4864A3-FBE3-4067-AA48-C3E87C5A8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E71E60A-AEF9-4751-B4FE-74D170AF2A6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2829868" cy="88092"/>
          </a:xfrm>
          <a:prstGeom prst="rect">
            <a:avLst/>
          </a:prstGeom>
          <a:noFill/>
          <a:effectLst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r>
              <a:rPr lang="en-US" sz="100">
                <a:solidFill>
                  <a:srgbClr val="FFFFFF">
                    <a:alpha val="0"/>
                  </a:srgbClr>
                </a:solidFill>
                <a:cs typeface="Arial"/>
              </a:rPr>
              <a:t>overall_1_131696877956906059 columns_4_131696877956504982 4_1_131723700746069344 5_0_131696877946819160 6_0_131696877947054791 7_0_131696877947340565 8_0_131696877947696516 11_0_131696877947826862 14_0_131696877947917101 17_0_131696877948052446 22_0_131696877948438483 97_0_131698588605729586 88_0_131700569165595600 91_0_131700567334764757 100_0_131700567334794854 85_0_131700567716065222 112_0_131700569165625998 109_0_131700569165646070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4962" y="25167"/>
            <a:ext cx="11522075" cy="876300"/>
          </a:xfrm>
          <a:effectLst/>
        </p:spPr>
        <p:txBody>
          <a:bodyPr wrap="square"/>
          <a:lstStyle/>
          <a:p>
            <a:pPr indent="-177800"/>
            <a:r>
              <a:rPr lang="en-US" dirty="0"/>
              <a:t>CFA Job Applicant Screening Process</a:t>
            </a:r>
            <a:endParaRPr lang="en-US" dirty="0">
              <a:effectLst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70515" y="399914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3488218" y="3617092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470515" y="530609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3493936" y="518242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BainBulletsConfiguration" hidden="1">
            <a:extLst>
              <a:ext uri="{FF2B5EF4-FFF2-40B4-BE49-F238E27FC236}">
                <a16:creationId xmlns:a16="http://schemas.microsoft.com/office/drawing/2014/main" id="{30106A60-ECA7-4FBE-8613-192912440DED}"/>
              </a:ext>
            </a:extLst>
          </p:cNvPr>
          <p:cNvSpPr txBox="1"/>
          <p:nvPr/>
        </p:nvSpPr>
        <p:spPr bwMode="gray">
          <a:xfrm>
            <a:off x="12700" y="12700"/>
            <a:ext cx="27147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  <a:defRPr/>
            </a:pPr>
            <a:r>
              <a:rPr lang="en-US" sz="100">
                <a:solidFill>
                  <a:srgbClr val="FFFFFF"/>
                </a:solidFill>
                <a:cs typeface="Arial"/>
              </a:rPr>
              <a:t>94_84 112_84 118_84 123_84 128_84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C206740-FA4A-458B-B50E-E4573931B9C2}"/>
              </a:ext>
            </a:extLst>
          </p:cNvPr>
          <p:cNvSpPr/>
          <p:nvPr/>
        </p:nvSpPr>
        <p:spPr>
          <a:xfrm>
            <a:off x="470514" y="590365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F28F677-3EC7-49D8-B651-D4BF058D8296}"/>
              </a:ext>
            </a:extLst>
          </p:cNvPr>
          <p:cNvSpPr/>
          <p:nvPr/>
        </p:nvSpPr>
        <p:spPr>
          <a:xfrm>
            <a:off x="470515" y="4384270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33107F2-8E1F-47F8-93F9-C6E4C3D1D06F}"/>
              </a:ext>
            </a:extLst>
          </p:cNvPr>
          <p:cNvSpPr/>
          <p:nvPr/>
        </p:nvSpPr>
        <p:spPr>
          <a:xfrm>
            <a:off x="3493936" y="5562621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E8FCD4-605F-4971-3DC2-AEF1A0657121}"/>
              </a:ext>
            </a:extLst>
          </p:cNvPr>
          <p:cNvSpPr txBox="1"/>
          <p:nvPr/>
        </p:nvSpPr>
        <p:spPr>
          <a:xfrm>
            <a:off x="470514" y="995861"/>
            <a:ext cx="10493897" cy="5242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fontAlgn="base"/>
            <a:endParaRPr lang="en-US" b="0" i="0" u="none" strike="noStrike" dirty="0">
              <a:solidFill>
                <a:srgbClr val="000000"/>
              </a:solidFill>
              <a:effectLst/>
              <a:latin typeface="Quattrocento Sans" panose="020B0502050000020003" pitchFamily="34" charset="0"/>
            </a:endParaRP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hortlist applicants based on resume analysis and send link to Schedule interview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nduct Interviews (</a:t>
            </a:r>
            <a:r>
              <a:rPr lang="en-US" sz="1800" b="0" i="0" u="none" strike="noStrike" dirty="0" err="1">
                <a:solidFill>
                  <a:srgbClr val="1155C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Behavioural</a:t>
            </a:r>
            <a:r>
              <a:rPr lang="en-US" sz="1800" b="0" i="0" u="none" strike="noStrike" dirty="0">
                <a:solidFill>
                  <a:srgbClr val="1155C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 interview Guide)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core the Interview </a:t>
            </a:r>
            <a:r>
              <a:rPr lang="en-US" sz="1800" b="0" i="0" u="none" strike="noStrike" dirty="0">
                <a:solidFill>
                  <a:srgbClr val="1155C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(</a:t>
            </a:r>
            <a:r>
              <a:rPr lang="en-US" sz="1800" b="0" i="0" u="none" strike="noStrike" dirty="0" err="1">
                <a:solidFill>
                  <a:srgbClr val="1155C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Behavioural</a:t>
            </a:r>
            <a:r>
              <a:rPr lang="en-US" sz="1800" b="0" i="0" u="none" strike="noStrike" dirty="0">
                <a:solidFill>
                  <a:srgbClr val="1155C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 Assessment Rubric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hortlist candidates for technical assessment </a:t>
            </a: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nduct Technical assessment </a:t>
            </a:r>
            <a:r>
              <a:rPr lang="en-US" sz="1800" b="0" i="0" u="sng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9"/>
              </a:rPr>
              <a:t>(Project Details  · CFA Assessments) </a:t>
            </a:r>
            <a:r>
              <a:rPr lang="en-US" sz="1800" b="0" i="0" u="sng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core the Technical assessment </a:t>
            </a:r>
            <a:r>
              <a:rPr lang="en-US" sz="1800" b="0" i="0" u="sng" strike="noStrike" dirty="0">
                <a:solidFill>
                  <a:srgbClr val="0000F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10"/>
              </a:rPr>
              <a:t>(</a:t>
            </a:r>
            <a:r>
              <a:rPr lang="en-US" sz="1800" b="0" i="0" u="sng" strike="noStrike" dirty="0">
                <a:solidFill>
                  <a:srgbClr val="1155C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Assessment rubric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 </a:t>
            </a: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elect candidate for next round &amp; direct them to apply on the employer’s site</a:t>
            </a: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Send resume and screening info to employer. See sample </a:t>
            </a:r>
            <a:r>
              <a:rPr lang="en-US" sz="1800" b="0" i="0" u="sng" strike="noStrike" dirty="0">
                <a:solidFill>
                  <a:srgbClr val="1155C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12"/>
              </a:rPr>
              <a:t>here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 </a:t>
            </a: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mployer fast tracks students in their application process</a:t>
            </a:r>
          </a:p>
          <a:p>
            <a:pPr marL="285750" indent="-285750" rtl="0" fontAlgn="base">
              <a:spcBef>
                <a:spcPts val="0"/>
              </a:spcBef>
              <a:spcAft>
                <a:spcPts val="140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mployer selects candidates and makes an offer </a:t>
            </a:r>
          </a:p>
          <a:p>
            <a:pPr rtl="0">
              <a:spcBef>
                <a:spcPts val="1400"/>
              </a:spcBef>
              <a:spcAft>
                <a:spcPts val="1400"/>
              </a:spcAft>
            </a:pPr>
            <a:r>
              <a:rPr lang="en-US" sz="1800" b="1" i="0" u="sng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FA Services for Students</a:t>
            </a:r>
            <a:endParaRPr lang="en-US" b="0" dirty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rtl="0" fontAlgn="base">
              <a:spcBef>
                <a:spcPts val="14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sume/Linked In critique </a:t>
            </a: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over Letter/ Personal Narrative Help </a:t>
            </a: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ock interviews &amp; Application support </a:t>
            </a:r>
          </a:p>
          <a:p>
            <a:pPr marL="285750" indent="-285750" rtl="0" fontAlgn="base">
              <a:spcBef>
                <a:spcPts val="0"/>
              </a:spcBef>
              <a:spcAft>
                <a:spcPts val="140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etworking - Help with employer informational interviews </a:t>
            </a:r>
          </a:p>
        </p:txBody>
      </p:sp>
    </p:spTree>
    <p:extLst>
      <p:ext uri="{BB962C8B-B14F-4D97-AF65-F5344CB8AC3E}">
        <p14:creationId xmlns:p14="http://schemas.microsoft.com/office/powerpoint/2010/main" val="2740139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FB13E41-71DF-4A86-BC86-75A9A68957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FB13E41-71DF-4A86-BC86-75A9A6895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C0A763-C1D6-4C36-9C7E-4CE27DD76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mployers we are working with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FBC0DDC-3F70-419A-9187-49D87155D3E0}"/>
              </a:ext>
            </a:extLst>
          </p:cNvPr>
          <p:cNvSpPr txBox="1">
            <a:spLocks/>
          </p:cNvSpPr>
          <p:nvPr/>
        </p:nvSpPr>
        <p:spPr>
          <a:xfrm>
            <a:off x="571499" y="1055077"/>
            <a:ext cx="11447585" cy="547760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t" anchorCtr="0">
            <a:normAutofit fontScale="47500" lnSpcReduction="20000"/>
          </a:bodyPr>
          <a:lstStyle>
            <a:lvl1pPr marL="457200" marR="0" lvl="0" indent="-3302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&gt;"/>
              <a:defRPr sz="14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kern="1200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buFont typeface="Arial"/>
              <a:buNone/>
            </a:pPr>
            <a:r>
              <a:rPr lang="en-US" sz="3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Employer partners include: </a:t>
            </a:r>
            <a:endParaRPr lang="en-US" sz="3400" dirty="0">
              <a:solidFill>
                <a:schemeClr val="tx1"/>
              </a:solidFill>
              <a:latin typeface="Calibri" panose="020F0502020204030204" pitchFamily="34" charset="0"/>
              <a:ea typeface="+mn-lt"/>
              <a:cs typeface="Calibri" panose="020F0502020204030204" pitchFamily="34" charset="0"/>
            </a:endParaRP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cific Northwest National Laboratory </a:t>
            </a:r>
            <a:endParaRPr lang="en-US" sz="3400" dirty="0">
              <a:solidFill>
                <a:schemeClr val="tx1"/>
              </a:solidFill>
              <a:latin typeface="Calibri" panose="020F0502020204030204" pitchFamily="34" charset="0"/>
              <a:ea typeface="+mn-lt"/>
              <a:cs typeface="Calibri" panose="020F0502020204030204" pitchFamily="34" charset="0"/>
            </a:endParaRP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soft </a:t>
            </a:r>
            <a:r>
              <a:rPr lang="en-US" sz="3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AP and Tech </a:t>
            </a:r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ilience mentoring</a:t>
            </a: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ebook</a:t>
            </a: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-Mobile</a:t>
            </a: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uSign</a:t>
            </a: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wik Lok</a:t>
            </a: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drona Venture Group portfolio companies</a:t>
            </a: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da</a:t>
            </a: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artsheet</a:t>
            </a: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nk of America</a:t>
            </a: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Seattle</a:t>
            </a: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iPath</a:t>
            </a:r>
          </a:p>
          <a:p>
            <a:r>
              <a:rPr lang="en-US" sz="3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Tech</a:t>
            </a:r>
          </a:p>
          <a:p>
            <a:pPr marL="0" indent="0">
              <a:buFont typeface="Arial"/>
              <a:buNone/>
            </a:pPr>
            <a:r>
              <a:rPr lang="en-US" sz="3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r goal is to create 20 internships positions across these early employers, and ultimately grow the program to at least 40 internship positions by 2022</a:t>
            </a:r>
            <a:endParaRPr lang="en-US" sz="3400" dirty="0">
              <a:solidFill>
                <a:schemeClr val="tx1"/>
              </a:solidFill>
              <a:latin typeface="Calibri" panose="020F0502020204030204" pitchFamily="34" charset="0"/>
              <a:ea typeface="+mn-lt"/>
              <a:cs typeface="Calibri" panose="020F0502020204030204" pitchFamily="34" charset="0"/>
            </a:endParaRPr>
          </a:p>
          <a:p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110486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4864A3-FBE3-4067-AA48-C3E87C5A85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4864A3-FBE3-4067-AA48-C3E87C5A8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E71E60A-AEF9-4751-B4FE-74D170AF2A6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btfpLayoutConfig" hidden="1"/>
          <p:cNvSpPr txBox="1"/>
          <p:nvPr/>
        </p:nvSpPr>
        <p:spPr>
          <a:xfrm>
            <a:off x="12700" y="12700"/>
            <a:ext cx="2829868" cy="88092"/>
          </a:xfrm>
          <a:prstGeom prst="rect">
            <a:avLst/>
          </a:prstGeom>
          <a:noFill/>
          <a:effectLst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r>
              <a:rPr lang="en-US" sz="100">
                <a:solidFill>
                  <a:srgbClr val="FFFFFF">
                    <a:alpha val="0"/>
                  </a:srgbClr>
                </a:solidFill>
                <a:cs typeface="Arial"/>
              </a:rPr>
              <a:t>overall_1_131696877956906059 columns_4_131696877956504982 4_1_131723700746069344 5_0_131696877946819160 6_0_131696877947054791 7_0_131696877947340565 8_0_131696877947696516 11_0_131696877947826862 14_0_131696877947917101 17_0_131696877948052446 22_0_131696877948438483 97_0_131698588605729586 88_0_131700569165595600 91_0_131700567334764757 100_0_131700567334794854 85_0_131700567716065222 112_0_131700569165625998 109_0_131700569165646070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4962" y="7016"/>
            <a:ext cx="11522075" cy="876300"/>
          </a:xfrm>
          <a:effectLst/>
        </p:spPr>
        <p:txBody>
          <a:bodyPr wrap="square"/>
          <a:lstStyle/>
          <a:p>
            <a:pPr indent="-177800"/>
            <a:r>
              <a:rPr lang="en-US" dirty="0"/>
              <a:t>ASK of Faculty</a:t>
            </a:r>
            <a:endParaRPr lang="en-US" dirty="0">
              <a:effectLst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70515" y="399914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3488218" y="3617092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470515" y="530609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3493936" y="518242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" name="BainBulletsConfiguration" hidden="1">
            <a:extLst>
              <a:ext uri="{FF2B5EF4-FFF2-40B4-BE49-F238E27FC236}">
                <a16:creationId xmlns:a16="http://schemas.microsoft.com/office/drawing/2014/main" id="{30106A60-ECA7-4FBE-8613-192912440DED}"/>
              </a:ext>
            </a:extLst>
          </p:cNvPr>
          <p:cNvSpPr txBox="1"/>
          <p:nvPr/>
        </p:nvSpPr>
        <p:spPr bwMode="gray">
          <a:xfrm>
            <a:off x="12700" y="12700"/>
            <a:ext cx="271475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defTabSz="711200">
              <a:spcBef>
                <a:spcPts val="1200"/>
              </a:spcBef>
              <a:defRPr/>
            </a:pPr>
            <a:r>
              <a:rPr lang="en-US" sz="100">
                <a:solidFill>
                  <a:srgbClr val="FFFFFF"/>
                </a:solidFill>
                <a:cs typeface="Arial"/>
              </a:rPr>
              <a:t>94_84 112_84 118_84 123_84 128_84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CC206740-FA4A-458B-B50E-E4573931B9C2}"/>
              </a:ext>
            </a:extLst>
          </p:cNvPr>
          <p:cNvSpPr/>
          <p:nvPr/>
        </p:nvSpPr>
        <p:spPr>
          <a:xfrm>
            <a:off x="470514" y="5903659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F28F677-3EC7-49D8-B651-D4BF058D8296}"/>
              </a:ext>
            </a:extLst>
          </p:cNvPr>
          <p:cNvSpPr/>
          <p:nvPr/>
        </p:nvSpPr>
        <p:spPr>
          <a:xfrm>
            <a:off x="470515" y="4384270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33107F2-8E1F-47F8-93F9-C6E4C3D1D06F}"/>
              </a:ext>
            </a:extLst>
          </p:cNvPr>
          <p:cNvSpPr/>
          <p:nvPr/>
        </p:nvSpPr>
        <p:spPr>
          <a:xfrm>
            <a:off x="3493936" y="5562621"/>
            <a:ext cx="163509" cy="3341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11200">
              <a:spcBef>
                <a:spcPts val="1200"/>
              </a:spcBef>
              <a:spcAft>
                <a:spcPct val="0"/>
              </a:spcAft>
              <a:defRPr>
                <a:effectLst/>
              </a:defRPr>
            </a:pP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E8FCD4-605F-4971-3DC2-AEF1A0657121}"/>
              </a:ext>
            </a:extLst>
          </p:cNvPr>
          <p:cNvSpPr txBox="1"/>
          <p:nvPr/>
        </p:nvSpPr>
        <p:spPr>
          <a:xfrm>
            <a:off x="470514" y="995861"/>
            <a:ext cx="1092431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fontAlgn="base"/>
            <a:endParaRPr lang="en-US" b="0" i="0" u="none" strike="noStrike" dirty="0">
              <a:solidFill>
                <a:srgbClr val="000000"/>
              </a:solidFill>
              <a:effectLst/>
              <a:latin typeface="Quattrocento Sans" panose="020B0502050000020003" pitchFamily="34" charset="0"/>
            </a:endParaRP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courage students to create an account on the CFA job portal</a:t>
            </a: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are jobs via email/Canvas with students</a:t>
            </a:r>
          </a:p>
          <a:p>
            <a:pPr marL="285750" indent="-285750"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commend students for specific jobs</a:t>
            </a:r>
          </a:p>
        </p:txBody>
      </p:sp>
    </p:spTree>
    <p:extLst>
      <p:ext uri="{BB962C8B-B14F-4D97-AF65-F5344CB8AC3E}">
        <p14:creationId xmlns:p14="http://schemas.microsoft.com/office/powerpoint/2010/main" val="2074891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A6785-16AD-4556-BFE9-C547E53B16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dirty="0"/>
              <a:t>Contact: </a:t>
            </a:r>
            <a:r>
              <a:rPr lang="en-US" sz="4400" dirty="0">
                <a:hlinkClick r:id="rId2"/>
              </a:rPr>
              <a:t>info@computingforall.org</a:t>
            </a:r>
            <a:br>
              <a:rPr lang="en-US" sz="4400" dirty="0"/>
            </a:br>
            <a:r>
              <a:rPr lang="en-US" sz="4400" dirty="0">
                <a:hlinkClick r:id="rId3"/>
              </a:rPr>
              <a:t>www.computingforall.org</a:t>
            </a:r>
            <a:r>
              <a:rPr lang="en-US" sz="4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354428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e2pQOXQTejRBhRW5pc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e2pQOXQTejRBhRW5pc0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e2pQOXQTejRBhRW5pc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CEqhBpnFwFWwoZmXV4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DSndtAS96SwgPdlz3DT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8aecef98c7384e9ead3ca4d1cf0dc14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Lsh_UzH7s0V.CzMubp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ANCHOREBOTTOM" val="False"/>
  <p:tag name="BTFPLAYOUTANCHORELEFT" val="True"/>
  <p:tag name="BTFPLAYOUTANCHORERIGHT" val="False"/>
  <p:tag name="BTFPLAYOUTANCHORETOP" val="True"/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ICONID" val="ec0f13d09c97423ba7cc6a005ca9d53c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e2pQOXQTejRBhRW5pc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DSndtAS96SwgPdlz3D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DSndtAS96SwgPdlz3D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DSndtAS96SwgPdlz3D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CW Theme">
  <a:themeElements>
    <a:clrScheme name="CCW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00A49A"/>
      </a:accent1>
      <a:accent2>
        <a:srgbClr val="93B479"/>
      </a:accent2>
      <a:accent3>
        <a:srgbClr val="266782"/>
      </a:accent3>
      <a:accent4>
        <a:srgbClr val="5E9ACA"/>
      </a:accent4>
      <a:accent5>
        <a:srgbClr val="FFFFFF"/>
      </a:accent5>
      <a:accent6>
        <a:srgbClr val="FFFFFF"/>
      </a:accent6>
      <a:hlink>
        <a:srgbClr val="0563C1"/>
      </a:hlink>
      <a:folHlink>
        <a:srgbClr val="00A49A"/>
      </a:folHlink>
    </a:clrScheme>
    <a:fontScheme name="CC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W Theme" id="{6F2133AB-5E27-4AE8-9FC6-9D2D58ECDBBB}" vid="{AFE9B695-3A5E-4022-93D2-C470F4AAFDD6}"/>
    </a:ext>
  </a:extLst>
</a:theme>
</file>

<file path=ppt/theme/theme3.xml><?xml version="1.0" encoding="utf-8"?>
<a:theme xmlns:a="http://schemas.openxmlformats.org/drawingml/2006/main" name="1_CCW Theme">
  <a:themeElements>
    <a:clrScheme name="CCW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00A49A"/>
      </a:accent1>
      <a:accent2>
        <a:srgbClr val="93B479"/>
      </a:accent2>
      <a:accent3>
        <a:srgbClr val="266782"/>
      </a:accent3>
      <a:accent4>
        <a:srgbClr val="5E9ACA"/>
      </a:accent4>
      <a:accent5>
        <a:srgbClr val="FFFFFF"/>
      </a:accent5>
      <a:accent6>
        <a:srgbClr val="FFFFFF"/>
      </a:accent6>
      <a:hlink>
        <a:srgbClr val="0563C1"/>
      </a:hlink>
      <a:folHlink>
        <a:srgbClr val="00A49A"/>
      </a:folHlink>
    </a:clrScheme>
    <a:fontScheme name="CC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W Theme" id="{6F2133AB-5E27-4AE8-9FC6-9D2D58ECDBBB}" vid="{AFE9B695-3A5E-4022-93D2-C470F4AAFDD6}"/>
    </a:ext>
  </a:extLst>
</a:theme>
</file>

<file path=ppt/theme/theme4.xml><?xml version="1.0" encoding="utf-8"?>
<a:theme xmlns:a="http://schemas.openxmlformats.org/drawingml/2006/main" name="7_CCW Theme">
  <a:themeElements>
    <a:clrScheme name="CCW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00A49A"/>
      </a:accent1>
      <a:accent2>
        <a:srgbClr val="93B479"/>
      </a:accent2>
      <a:accent3>
        <a:srgbClr val="266782"/>
      </a:accent3>
      <a:accent4>
        <a:srgbClr val="5E9ACA"/>
      </a:accent4>
      <a:accent5>
        <a:srgbClr val="FFFFFF"/>
      </a:accent5>
      <a:accent6>
        <a:srgbClr val="FFFFFF"/>
      </a:accent6>
      <a:hlink>
        <a:srgbClr val="0563C1"/>
      </a:hlink>
      <a:folHlink>
        <a:srgbClr val="00A49A"/>
      </a:folHlink>
    </a:clrScheme>
    <a:fontScheme name="CC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W Theme" id="{6F2133AB-5E27-4AE8-9FC6-9D2D58ECDBBB}" vid="{AFE9B695-3A5E-4022-93D2-C470F4AAFDD6}"/>
    </a:ext>
  </a:extLst>
</a:theme>
</file>

<file path=ppt/theme/theme5.xml><?xml version="1.0" encoding="utf-8"?>
<a:theme xmlns:a="http://schemas.openxmlformats.org/drawingml/2006/main" name="4_CCW Theme">
  <a:themeElements>
    <a:clrScheme name="CCW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00A49A"/>
      </a:accent1>
      <a:accent2>
        <a:srgbClr val="93B479"/>
      </a:accent2>
      <a:accent3>
        <a:srgbClr val="266782"/>
      </a:accent3>
      <a:accent4>
        <a:srgbClr val="5E9ACA"/>
      </a:accent4>
      <a:accent5>
        <a:srgbClr val="FFFFFF"/>
      </a:accent5>
      <a:accent6>
        <a:srgbClr val="FFFFFF"/>
      </a:accent6>
      <a:hlink>
        <a:srgbClr val="0563C1"/>
      </a:hlink>
      <a:folHlink>
        <a:srgbClr val="00A49A"/>
      </a:folHlink>
    </a:clrScheme>
    <a:fontScheme name="CC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CW Theme" id="{6F2133AB-5E27-4AE8-9FC6-9D2D58ECDBBB}" vid="{AFE9B695-3A5E-4022-93D2-C470F4AAFDD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</TotalTime>
  <Words>1153</Words>
  <Application>Microsoft Office PowerPoint</Application>
  <PresentationFormat>Widescreen</PresentationFormat>
  <Paragraphs>162</Paragraphs>
  <Slides>13</Slides>
  <Notes>6</Notes>
  <HiddenSlides>2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Calibri</vt:lpstr>
      <vt:lpstr>Calibri Light</vt:lpstr>
      <vt:lpstr>Quattrocento Sans</vt:lpstr>
      <vt:lpstr>Office Theme</vt:lpstr>
      <vt:lpstr>CCW Theme</vt:lpstr>
      <vt:lpstr>1_CCW Theme</vt:lpstr>
      <vt:lpstr>7_CCW Theme</vt:lpstr>
      <vt:lpstr>4_CCW Theme</vt:lpstr>
      <vt:lpstr>think-cell Slide</vt:lpstr>
      <vt:lpstr>PowerPoint Presentation</vt:lpstr>
      <vt:lpstr>PowerPoint Presentation</vt:lpstr>
      <vt:lpstr>Leadership</vt:lpstr>
      <vt:lpstr>Washington’s Tech Ecosystem</vt:lpstr>
      <vt:lpstr>Demo of CFA Job Portal</vt:lpstr>
      <vt:lpstr>CFA Job Applicant Screening Process</vt:lpstr>
      <vt:lpstr>Employers we are working with</vt:lpstr>
      <vt:lpstr>ASK of Faculty</vt:lpstr>
      <vt:lpstr>Contact: info@computingforall.org www.computingforall.org </vt:lpstr>
      <vt:lpstr> Aligned Classroom Learning for the Cloud Computing Career Launch looks like…</vt:lpstr>
      <vt:lpstr>AWS Educate’s Cloud Computing Framework guides colleges in preparing students for entry-level roles across cloud related professional domains </vt:lpstr>
      <vt:lpstr>High-Quality On the Job Experience for the Cloud Associate’s degree looks like…</vt:lpstr>
      <vt:lpstr>Cloud Computing Roles and Salar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tu Bahl</dc:creator>
  <cp:lastModifiedBy>Mandira Virmani</cp:lastModifiedBy>
  <cp:revision>10</cp:revision>
  <dcterms:created xsi:type="dcterms:W3CDTF">2021-10-12T17:55:59Z</dcterms:created>
  <dcterms:modified xsi:type="dcterms:W3CDTF">2022-05-19T16:08:13Z</dcterms:modified>
</cp:coreProperties>
</file>